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Lst>
  <p:notesMasterIdLst>
    <p:notesMasterId r:id="rId23"/>
  </p:notesMasterIdLst>
  <p:sldIdLst>
    <p:sldId id="296" r:id="rId4"/>
    <p:sldId id="257" r:id="rId5"/>
    <p:sldId id="269" r:id="rId6"/>
    <p:sldId id="261" r:id="rId7"/>
    <p:sldId id="283" r:id="rId8"/>
    <p:sldId id="270" r:id="rId9"/>
    <p:sldId id="286" r:id="rId10"/>
    <p:sldId id="291" r:id="rId11"/>
    <p:sldId id="297" r:id="rId12"/>
    <p:sldId id="298" r:id="rId13"/>
    <p:sldId id="262" r:id="rId14"/>
    <p:sldId id="284" r:id="rId15"/>
    <p:sldId id="292" r:id="rId16"/>
    <p:sldId id="274" r:id="rId17"/>
    <p:sldId id="272" r:id="rId18"/>
    <p:sldId id="293" r:id="rId19"/>
    <p:sldId id="294" r:id="rId20"/>
    <p:sldId id="295" r:id="rId21"/>
    <p:sldId id="28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030" autoAdjust="0"/>
  </p:normalViewPr>
  <p:slideViewPr>
    <p:cSldViewPr snapToGrid="0">
      <p:cViewPr varScale="1">
        <p:scale>
          <a:sx n="74" d="100"/>
          <a:sy n="74" d="100"/>
        </p:scale>
        <p:origin x="931" y="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22EEFC-19A3-4AF2-888C-321CE5B24E4C}"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563B9CF3-40AE-4F6D-9802-FBE29F2DB0FD}">
      <dgm:prSet phldrT="[Text]" custT="1"/>
      <dgm:spPr>
        <a:xfrm>
          <a:off x="131116" y="0"/>
          <a:ext cx="10349000" cy="821966"/>
        </a:xfr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1600" b="1" dirty="0" smtClean="0">
              <a:solidFill>
                <a:sysClr val="window" lastClr="FFFFFF"/>
              </a:solidFill>
              <a:latin typeface="Lato"/>
              <a:ea typeface="+mn-ea"/>
              <a:cs typeface="+mn-cs"/>
            </a:rPr>
            <a:t>Problem Statement  Strategic Support:</a:t>
          </a:r>
        </a:p>
        <a:p>
          <a:r>
            <a:rPr lang="en-ZA" sz="1600" b="1" dirty="0" smtClean="0">
              <a:solidFill>
                <a:sysClr val="window" lastClr="FFFFFF"/>
              </a:solidFill>
              <a:latin typeface="Lato"/>
              <a:ea typeface="+mn-ea"/>
              <a:cs typeface="+mn-cs"/>
            </a:rPr>
            <a:t>Lack of an enabling environment that supports service delivery  excellence  </a:t>
          </a:r>
          <a:endParaRPr lang="en-GB" sz="1600" b="1" dirty="0">
            <a:solidFill>
              <a:sysClr val="window" lastClr="FFFFFF"/>
            </a:solidFill>
            <a:latin typeface="Lato"/>
            <a:ea typeface="+mn-ea"/>
            <a:cs typeface="+mn-cs"/>
          </a:endParaRPr>
        </a:p>
      </dgm:t>
    </dgm:pt>
    <dgm:pt modelId="{3E9FD29A-F7AA-4812-AFD7-F4473F2158AD}" type="parTrans" cxnId="{0CB407C0-2E9A-4EE8-900F-51938B7A358F}">
      <dgm:prSet/>
      <dgm:spPr/>
      <dgm:t>
        <a:bodyPr/>
        <a:lstStyle/>
        <a:p>
          <a:endParaRPr lang="en-GB">
            <a:solidFill>
              <a:schemeClr val="tx1"/>
            </a:solidFill>
          </a:endParaRPr>
        </a:p>
      </dgm:t>
    </dgm:pt>
    <dgm:pt modelId="{05BEB253-1CA9-4CA9-8CD4-0CB9A17B327C}" type="sibTrans" cxnId="{0CB407C0-2E9A-4EE8-900F-51938B7A358F}">
      <dgm:prSet/>
      <dgm:spPr/>
      <dgm:t>
        <a:bodyPr/>
        <a:lstStyle/>
        <a:p>
          <a:endParaRPr lang="en-GB">
            <a:solidFill>
              <a:schemeClr val="tx1"/>
            </a:solidFill>
          </a:endParaRPr>
        </a:p>
      </dgm:t>
    </dgm:pt>
    <dgm:pt modelId="{27C0C58C-3A95-4427-952F-34ADD3E4CA9C}">
      <dgm:prSet phldrT="[Text]" custT="1"/>
      <dgm:spPr>
        <a:xfrm>
          <a:off x="0" y="887615"/>
          <a:ext cx="2196003" cy="612001"/>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00" b="1" dirty="0" smtClean="0">
              <a:solidFill>
                <a:sysClr val="windowText" lastClr="000000"/>
              </a:solidFill>
              <a:latin typeface="Lato"/>
              <a:ea typeface="+mn-ea"/>
              <a:cs typeface="+mn-cs"/>
            </a:rPr>
            <a:t>Direct cause:</a:t>
          </a:r>
        </a:p>
        <a:p>
          <a:r>
            <a:rPr lang="en-ZA" sz="1000" b="1" dirty="0" smtClean="0">
              <a:solidFill>
                <a:sysClr val="windowText" lastClr="000000"/>
              </a:solidFill>
              <a:latin typeface="Lato"/>
              <a:ea typeface="+mn-ea"/>
              <a:cs typeface="+mn-cs"/>
            </a:rPr>
            <a:t>Lack of  integrate business information for informed decision making</a:t>
          </a:r>
          <a:endParaRPr lang="en-GB" sz="1000" b="1" dirty="0">
            <a:solidFill>
              <a:sysClr val="windowText" lastClr="000000"/>
            </a:solidFill>
            <a:latin typeface="Lato"/>
            <a:ea typeface="+mn-ea"/>
            <a:cs typeface="+mn-cs"/>
          </a:endParaRPr>
        </a:p>
      </dgm:t>
    </dgm:pt>
    <dgm:pt modelId="{A0F550C9-0B7E-4467-B60C-2FE33DB848F1}" type="parTrans" cxnId="{621EE3B8-6D07-459C-A6D3-E3BA410FE6C2}">
      <dgm:prSet/>
      <dgm:spPr>
        <a:xfrm>
          <a:off x="1098001" y="776246"/>
          <a:ext cx="4207614" cy="91440"/>
        </a:xfrm>
        <a:noFill/>
        <a:ln w="12700" cap="flat" cmpd="sng" algn="ctr">
          <a:noFill/>
          <a:prstDash val="solid"/>
          <a:miter lim="800000"/>
        </a:ln>
        <a:effectLst/>
      </dgm:spPr>
      <dgm:t>
        <a:bodyPr/>
        <a:lstStyle/>
        <a:p>
          <a:endParaRPr lang="en-GB">
            <a:solidFill>
              <a:schemeClr val="tx1"/>
            </a:solidFill>
          </a:endParaRPr>
        </a:p>
      </dgm:t>
    </dgm:pt>
    <dgm:pt modelId="{A48D0EC1-8DC2-4E08-8DF7-FD71B3DFA6AD}" type="sibTrans" cxnId="{621EE3B8-6D07-459C-A6D3-E3BA410FE6C2}">
      <dgm:prSet/>
      <dgm:spPr/>
      <dgm:t>
        <a:bodyPr/>
        <a:lstStyle/>
        <a:p>
          <a:endParaRPr lang="en-GB">
            <a:solidFill>
              <a:schemeClr val="tx1"/>
            </a:solidFill>
          </a:endParaRPr>
        </a:p>
      </dgm:t>
    </dgm:pt>
    <dgm:pt modelId="{B8408C07-B965-420B-AA4F-EF7BF3626137}">
      <dgm:prSet phldrT="[Text]" custT="1"/>
      <dgm:spPr>
        <a:xfrm>
          <a:off x="7413947" y="887615"/>
          <a:ext cx="2196003" cy="689506"/>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50" b="1" dirty="0" smtClean="0">
              <a:solidFill>
                <a:sysClr val="windowText" lastClr="000000"/>
              </a:solidFill>
              <a:latin typeface="Lato"/>
              <a:ea typeface="+mn-ea"/>
              <a:cs typeface="+mn-cs"/>
            </a:rPr>
            <a:t>Direct cause:</a:t>
          </a:r>
        </a:p>
        <a:p>
          <a:r>
            <a:rPr lang="en-ZA" sz="1050" b="1" dirty="0" smtClean="0">
              <a:solidFill>
                <a:sysClr val="windowText" lastClr="000000"/>
              </a:solidFill>
              <a:latin typeface="Lato"/>
              <a:ea typeface="+mn-ea"/>
              <a:cs typeface="+mn-cs"/>
            </a:rPr>
            <a:t>Insufficient budget allocations for programmes and projects </a:t>
          </a:r>
          <a:endParaRPr lang="en-GB" sz="1050" b="1" dirty="0" smtClean="0">
            <a:solidFill>
              <a:sysClr val="windowText" lastClr="000000"/>
            </a:solidFill>
            <a:latin typeface="Lato"/>
            <a:ea typeface="+mn-ea"/>
            <a:cs typeface="+mn-cs"/>
          </a:endParaRPr>
        </a:p>
      </dgm:t>
    </dgm:pt>
    <dgm:pt modelId="{205FFF2B-3A41-4A88-A3BE-31B22C2574A7}" type="parTrans" cxnId="{A10F591D-4995-402B-8FE6-D58EFD4115C8}">
      <dgm:prSet/>
      <dgm:spPr>
        <a:xfrm>
          <a:off x="5305616" y="776246"/>
          <a:ext cx="3206332" cy="91440"/>
        </a:xfrm>
        <a:noFill/>
        <a:ln w="12700" cap="flat" cmpd="sng" algn="ctr">
          <a:noFill/>
          <a:prstDash val="solid"/>
          <a:miter lim="800000"/>
        </a:ln>
        <a:effectLst/>
      </dgm:spPr>
      <dgm:t>
        <a:bodyPr/>
        <a:lstStyle/>
        <a:p>
          <a:endParaRPr lang="en-GB">
            <a:solidFill>
              <a:schemeClr val="tx1"/>
            </a:solidFill>
          </a:endParaRPr>
        </a:p>
      </dgm:t>
    </dgm:pt>
    <dgm:pt modelId="{03C46B23-7DCA-4218-9A55-43725D271667}" type="sibTrans" cxnId="{A10F591D-4995-402B-8FE6-D58EFD4115C8}">
      <dgm:prSet/>
      <dgm:spPr/>
      <dgm:t>
        <a:bodyPr/>
        <a:lstStyle/>
        <a:p>
          <a:endParaRPr lang="en-GB">
            <a:solidFill>
              <a:schemeClr val="tx1"/>
            </a:solidFill>
          </a:endParaRPr>
        </a:p>
      </dgm:t>
    </dgm:pt>
    <dgm:pt modelId="{4D9ED46B-69D1-47A5-8587-425F875E60C9}">
      <dgm:prSet phldrT="[Text]" custT="1"/>
      <dgm:spPr>
        <a:xfrm>
          <a:off x="2577198" y="1456682"/>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Poor recruitment and retention strategy</a:t>
          </a:r>
          <a:endParaRPr lang="en-GB" sz="1200" dirty="0">
            <a:solidFill>
              <a:sysClr val="windowText" lastClr="000000"/>
            </a:solidFill>
            <a:latin typeface="Lato"/>
            <a:ea typeface="+mn-ea"/>
            <a:cs typeface="+mn-cs"/>
          </a:endParaRPr>
        </a:p>
      </dgm:t>
    </dgm:pt>
    <dgm:pt modelId="{58994A76-1B27-43DF-B02F-100B15B3B104}" type="parTrans" cxnId="{54AEC9C3-FCCD-40D9-AC49-6E99DEFE0C6D}">
      <dgm:prSet/>
      <dgm:spPr>
        <a:xfrm>
          <a:off x="4443262" y="1403723"/>
          <a:ext cx="91440" cy="278315"/>
        </a:xfrm>
        <a:noFill/>
        <a:ln w="12700" cap="flat" cmpd="sng" algn="ctr">
          <a:noFill/>
          <a:prstDash val="solid"/>
          <a:miter lim="800000"/>
        </a:ln>
        <a:effectLst/>
      </dgm:spPr>
      <dgm:t>
        <a:bodyPr/>
        <a:lstStyle/>
        <a:p>
          <a:endParaRPr lang="en-GB">
            <a:solidFill>
              <a:schemeClr val="tx1"/>
            </a:solidFill>
          </a:endParaRPr>
        </a:p>
      </dgm:t>
    </dgm:pt>
    <dgm:pt modelId="{22A69CCF-FD75-4E98-B318-DC8302FAB2C0}" type="sibTrans" cxnId="{54AEC9C3-FCCD-40D9-AC49-6E99DEFE0C6D}">
      <dgm:prSet/>
      <dgm:spPr/>
      <dgm:t>
        <a:bodyPr/>
        <a:lstStyle/>
        <a:p>
          <a:endParaRPr lang="en-GB">
            <a:solidFill>
              <a:schemeClr val="tx1"/>
            </a:solidFill>
          </a:endParaRPr>
        </a:p>
      </dgm:t>
    </dgm:pt>
    <dgm:pt modelId="{70510394-ADAF-4017-9A71-0CDBF70C8053}">
      <dgm:prSet custT="1"/>
      <dgm:spPr>
        <a:xfrm>
          <a:off x="2577198" y="2485364"/>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Organisational structure not aligned to mandate</a:t>
          </a:r>
          <a:endParaRPr lang="en-GB" sz="1000" dirty="0">
            <a:solidFill>
              <a:sysClr val="windowText" lastClr="000000"/>
            </a:solidFill>
            <a:latin typeface="Lato"/>
            <a:ea typeface="+mn-ea"/>
            <a:cs typeface="+mn-cs"/>
          </a:endParaRPr>
        </a:p>
      </dgm:t>
    </dgm:pt>
    <dgm:pt modelId="{39A6586C-73CD-4D64-A1FA-DFF0D99B7D4E}" type="parTrans" cxnId="{86A4D385-2F22-4BFF-931D-859B87D5FC92}">
      <dgm:prSet/>
      <dgm:spPr>
        <a:xfrm>
          <a:off x="4443262" y="1403723"/>
          <a:ext cx="91440" cy="1306997"/>
        </a:xfrm>
        <a:noFill/>
        <a:ln w="12700" cap="flat" cmpd="sng" algn="ctr">
          <a:noFill/>
          <a:prstDash val="solid"/>
          <a:miter lim="800000"/>
        </a:ln>
        <a:effectLst/>
      </dgm:spPr>
      <dgm:t>
        <a:bodyPr/>
        <a:lstStyle/>
        <a:p>
          <a:endParaRPr lang="en-GB">
            <a:solidFill>
              <a:schemeClr val="tx1"/>
            </a:solidFill>
          </a:endParaRPr>
        </a:p>
      </dgm:t>
    </dgm:pt>
    <dgm:pt modelId="{D94AC2A3-737F-46A2-AC99-71A23D9C4826}" type="sibTrans" cxnId="{86A4D385-2F22-4BFF-931D-859B87D5FC92}">
      <dgm:prSet/>
      <dgm:spPr/>
      <dgm:t>
        <a:bodyPr/>
        <a:lstStyle/>
        <a:p>
          <a:endParaRPr lang="en-GB">
            <a:solidFill>
              <a:schemeClr val="tx1"/>
            </a:solidFill>
          </a:endParaRPr>
        </a:p>
      </dgm:t>
    </dgm:pt>
    <dgm:pt modelId="{232AA91C-A830-4893-AB0C-E0B807EEE6B2}">
      <dgm:prSet phldrT="[Text]" custT="1"/>
      <dgm:spPr>
        <a:xfrm>
          <a:off x="2577198" y="1954617"/>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Non-compliance with employment equity targets and AA measures</a:t>
          </a:r>
          <a:endParaRPr lang="en-GB" sz="1000" dirty="0">
            <a:solidFill>
              <a:sysClr val="windowText" lastClr="000000"/>
            </a:solidFill>
            <a:latin typeface="Lato"/>
            <a:ea typeface="+mn-ea"/>
            <a:cs typeface="+mn-cs"/>
          </a:endParaRPr>
        </a:p>
      </dgm:t>
    </dgm:pt>
    <dgm:pt modelId="{1AEE5C21-8809-4BD3-BF4B-96F643A6442C}" type="parTrans" cxnId="{2242DF51-6F3D-46A4-A1A5-04BE8850E38B}">
      <dgm:prSet/>
      <dgm:spPr>
        <a:xfrm>
          <a:off x="4443262" y="1403723"/>
          <a:ext cx="91440" cy="776250"/>
        </a:xfrm>
        <a:noFill/>
        <a:ln w="12700" cap="flat" cmpd="sng" algn="ctr">
          <a:noFill/>
          <a:prstDash val="solid"/>
          <a:miter lim="800000"/>
        </a:ln>
        <a:effectLst/>
      </dgm:spPr>
      <dgm:t>
        <a:bodyPr/>
        <a:lstStyle/>
        <a:p>
          <a:endParaRPr lang="en-GB">
            <a:solidFill>
              <a:schemeClr val="tx1"/>
            </a:solidFill>
          </a:endParaRPr>
        </a:p>
      </dgm:t>
    </dgm:pt>
    <dgm:pt modelId="{FAB4A523-7091-432C-A10F-E583BE39856A}" type="sibTrans" cxnId="{2242DF51-6F3D-46A4-A1A5-04BE8850E38B}">
      <dgm:prSet/>
      <dgm:spPr/>
      <dgm:t>
        <a:bodyPr/>
        <a:lstStyle/>
        <a:p>
          <a:endParaRPr lang="en-GB">
            <a:solidFill>
              <a:schemeClr val="tx1"/>
            </a:solidFill>
          </a:endParaRPr>
        </a:p>
      </dgm:t>
    </dgm:pt>
    <dgm:pt modelId="{DCA969C6-173D-4A46-9BA4-5119AF64DB64}">
      <dgm:prSet custT="1"/>
      <dgm:spPr>
        <a:xfrm>
          <a:off x="2577712" y="3017355"/>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100" dirty="0" smtClean="0">
              <a:solidFill>
                <a:sysClr val="windowText" lastClr="000000"/>
              </a:solidFill>
              <a:latin typeface="Lato"/>
              <a:ea typeface="+mn-ea"/>
              <a:cs typeface="+mn-cs"/>
            </a:rPr>
            <a:t>Inadequate resourcing of the colleges </a:t>
          </a:r>
          <a:endParaRPr lang="en-GB" sz="1100" dirty="0">
            <a:solidFill>
              <a:sysClr val="windowText" lastClr="000000"/>
            </a:solidFill>
            <a:latin typeface="Lato"/>
            <a:ea typeface="+mn-ea"/>
            <a:cs typeface="+mn-cs"/>
          </a:endParaRPr>
        </a:p>
      </dgm:t>
    </dgm:pt>
    <dgm:pt modelId="{CCCD879D-0878-4276-BBBF-ED7DC058AD7B}" type="parTrans" cxnId="{57816D1E-B580-47C0-A950-5C5DB86F664B}">
      <dgm:prSet/>
      <dgm:spPr>
        <a:xfrm>
          <a:off x="4443262" y="1403723"/>
          <a:ext cx="91440" cy="1838988"/>
        </a:xfrm>
        <a:noFill/>
        <a:ln w="12700" cap="flat" cmpd="sng" algn="ctr">
          <a:noFill/>
          <a:prstDash val="solid"/>
          <a:miter lim="800000"/>
        </a:ln>
        <a:effectLst/>
      </dgm:spPr>
      <dgm:t>
        <a:bodyPr/>
        <a:lstStyle/>
        <a:p>
          <a:endParaRPr lang="en-GB">
            <a:solidFill>
              <a:schemeClr val="tx1"/>
            </a:solidFill>
          </a:endParaRPr>
        </a:p>
      </dgm:t>
    </dgm:pt>
    <dgm:pt modelId="{FE4AC76F-08FB-47BF-8FF3-FA756FFB418F}" type="sibTrans" cxnId="{57816D1E-B580-47C0-A950-5C5DB86F664B}">
      <dgm:prSet/>
      <dgm:spPr/>
      <dgm:t>
        <a:bodyPr/>
        <a:lstStyle/>
        <a:p>
          <a:endParaRPr lang="en-GB">
            <a:solidFill>
              <a:schemeClr val="tx1"/>
            </a:solidFill>
          </a:endParaRPr>
        </a:p>
      </dgm:t>
    </dgm:pt>
    <dgm:pt modelId="{4CC3869D-EA05-4F15-ABEF-E876B4DF3A97}">
      <dgm:prSet custT="1"/>
      <dgm:spPr>
        <a:xfrm>
          <a:off x="2577712" y="354501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050" dirty="0" smtClean="0">
              <a:solidFill>
                <a:sysClr val="windowText" lastClr="000000"/>
              </a:solidFill>
              <a:latin typeface="Lato"/>
              <a:ea typeface="+mn-ea"/>
              <a:cs typeface="+mn-cs"/>
            </a:rPr>
            <a:t>Inconsistent implementation of HR directives  </a:t>
          </a:r>
          <a:endParaRPr lang="en-GB" sz="1050" dirty="0">
            <a:solidFill>
              <a:sysClr val="windowText" lastClr="000000"/>
            </a:solidFill>
            <a:latin typeface="Lato"/>
            <a:ea typeface="+mn-ea"/>
            <a:cs typeface="+mn-cs"/>
          </a:endParaRPr>
        </a:p>
      </dgm:t>
    </dgm:pt>
    <dgm:pt modelId="{60A8C610-33C6-4C13-A76B-645F44A3B723}" type="parTrans" cxnId="{E262D2DD-FF85-49C4-B13E-BE1172AB56AE}">
      <dgm:prSet/>
      <dgm:spPr>
        <a:xfrm>
          <a:off x="4443262" y="1403723"/>
          <a:ext cx="91440" cy="2366643"/>
        </a:xfrm>
        <a:noFill/>
        <a:ln w="12700" cap="flat" cmpd="sng" algn="ctr">
          <a:noFill/>
          <a:prstDash val="solid"/>
          <a:miter lim="800000"/>
        </a:ln>
        <a:effectLst/>
      </dgm:spPr>
      <dgm:t>
        <a:bodyPr/>
        <a:lstStyle/>
        <a:p>
          <a:endParaRPr lang="en-GB">
            <a:solidFill>
              <a:schemeClr val="tx1"/>
            </a:solidFill>
          </a:endParaRPr>
        </a:p>
      </dgm:t>
    </dgm:pt>
    <dgm:pt modelId="{062AB4E3-8430-4023-A667-0AA14B259536}" type="sibTrans" cxnId="{E262D2DD-FF85-49C4-B13E-BE1172AB56AE}">
      <dgm:prSet/>
      <dgm:spPr/>
      <dgm:t>
        <a:bodyPr/>
        <a:lstStyle/>
        <a:p>
          <a:endParaRPr lang="en-GB">
            <a:solidFill>
              <a:schemeClr val="tx1"/>
            </a:solidFill>
          </a:endParaRPr>
        </a:p>
      </dgm:t>
    </dgm:pt>
    <dgm:pt modelId="{4A273B54-5675-4A36-BC30-269F184B394E}">
      <dgm:prSet/>
      <dgm:spPr>
        <a:xfrm>
          <a:off x="2577712" y="407266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Lack of uniform and appropriate shift system </a:t>
          </a:r>
          <a:endParaRPr lang="en-GB" dirty="0">
            <a:solidFill>
              <a:sysClr val="windowText" lastClr="000000"/>
            </a:solidFill>
            <a:latin typeface="Lato"/>
            <a:ea typeface="+mn-ea"/>
            <a:cs typeface="+mn-cs"/>
          </a:endParaRPr>
        </a:p>
      </dgm:t>
    </dgm:pt>
    <dgm:pt modelId="{B9768B53-8850-4D94-B15A-B424BE92EB7A}" type="parTrans" cxnId="{20DD6BCF-EBBB-46CF-B3F2-5F45E2F4073A}">
      <dgm:prSet/>
      <dgm:spPr>
        <a:xfrm>
          <a:off x="4443262" y="1403723"/>
          <a:ext cx="91440" cy="2894294"/>
        </a:xfrm>
        <a:noFill/>
        <a:ln w="12700" cap="flat" cmpd="sng" algn="ctr">
          <a:noFill/>
          <a:prstDash val="solid"/>
          <a:miter lim="800000"/>
        </a:ln>
        <a:effectLst/>
      </dgm:spPr>
      <dgm:t>
        <a:bodyPr/>
        <a:lstStyle/>
        <a:p>
          <a:endParaRPr lang="en-GB">
            <a:solidFill>
              <a:schemeClr val="tx1"/>
            </a:solidFill>
          </a:endParaRPr>
        </a:p>
      </dgm:t>
    </dgm:pt>
    <dgm:pt modelId="{52079362-CDB7-4D88-9EF5-A9C28CCD6275}" type="sibTrans" cxnId="{20DD6BCF-EBBB-46CF-B3F2-5F45E2F4073A}">
      <dgm:prSet/>
      <dgm:spPr/>
      <dgm:t>
        <a:bodyPr/>
        <a:lstStyle/>
        <a:p>
          <a:endParaRPr lang="en-GB">
            <a:solidFill>
              <a:schemeClr val="tx1"/>
            </a:solidFill>
          </a:endParaRPr>
        </a:p>
      </dgm:t>
    </dgm:pt>
    <dgm:pt modelId="{9D90A7A5-CCD4-4D01-BA9A-53F4E97656E6}">
      <dgm:prSet phldrT="[Text]" custT="1"/>
      <dgm:spPr>
        <a:xfrm>
          <a:off x="9905794" y="2065609"/>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compliance monitoring coverage</a:t>
          </a:r>
        </a:p>
      </dgm:t>
    </dgm:pt>
    <dgm:pt modelId="{7F261382-8D87-413A-8D05-DC35E9B459FF}" type="parTrans" cxnId="{CD60D114-1174-4F9F-AB50-CE068219C6B7}">
      <dgm:prSet/>
      <dgm:spPr>
        <a:xfrm>
          <a:off x="9860074" y="1494023"/>
          <a:ext cx="91440" cy="796943"/>
        </a:xfrm>
        <a:noFill/>
        <a:ln w="12700" cap="flat" cmpd="sng" algn="ctr">
          <a:noFill/>
          <a:prstDash val="solid"/>
          <a:miter lim="800000"/>
        </a:ln>
        <a:effectLst/>
      </dgm:spPr>
      <dgm:t>
        <a:bodyPr/>
        <a:lstStyle/>
        <a:p>
          <a:endParaRPr lang="en-GB">
            <a:solidFill>
              <a:schemeClr val="tx1"/>
            </a:solidFill>
          </a:endParaRPr>
        </a:p>
      </dgm:t>
    </dgm:pt>
    <dgm:pt modelId="{07A0BBC8-C2A3-4D84-9311-D7818CBD37BF}" type="sibTrans" cxnId="{CD60D114-1174-4F9F-AB50-CE068219C6B7}">
      <dgm:prSet/>
      <dgm:spPr/>
      <dgm:t>
        <a:bodyPr/>
        <a:lstStyle/>
        <a:p>
          <a:endParaRPr lang="en-GB">
            <a:solidFill>
              <a:schemeClr val="tx1"/>
            </a:solidFill>
          </a:endParaRPr>
        </a:p>
      </dgm:t>
    </dgm:pt>
    <dgm:pt modelId="{BC412EB7-C7E5-4551-B509-CA54EA28D57E}">
      <dgm:prSet phldrT="[Text]" custT="1"/>
      <dgm:spPr>
        <a:xfrm>
          <a:off x="9905794" y="3118653"/>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segregation of duties and non-compliance to procurement prescripts</a:t>
          </a:r>
        </a:p>
      </dgm:t>
    </dgm:pt>
    <dgm:pt modelId="{F5AAD115-D470-4475-8607-D5E6FED1948F}" type="parTrans" cxnId="{2DC5D7E2-9730-4B75-8227-EB18B157EEEA}">
      <dgm:prSet/>
      <dgm:spPr>
        <a:xfrm>
          <a:off x="9860074" y="1494023"/>
          <a:ext cx="91440" cy="1849986"/>
        </a:xfrm>
        <a:noFill/>
        <a:ln w="12700" cap="flat" cmpd="sng" algn="ctr">
          <a:noFill/>
          <a:prstDash val="solid"/>
          <a:miter lim="800000"/>
        </a:ln>
        <a:effectLst/>
      </dgm:spPr>
      <dgm:t>
        <a:bodyPr/>
        <a:lstStyle/>
        <a:p>
          <a:endParaRPr lang="en-GB">
            <a:solidFill>
              <a:schemeClr val="tx1"/>
            </a:solidFill>
          </a:endParaRPr>
        </a:p>
      </dgm:t>
    </dgm:pt>
    <dgm:pt modelId="{2179CFA4-B746-49BD-B895-18B8AA8C993C}" type="sibTrans" cxnId="{2DC5D7E2-9730-4B75-8227-EB18B157EEEA}">
      <dgm:prSet/>
      <dgm:spPr/>
      <dgm:t>
        <a:bodyPr/>
        <a:lstStyle/>
        <a:p>
          <a:endParaRPr lang="en-GB">
            <a:solidFill>
              <a:schemeClr val="tx1"/>
            </a:solidFill>
          </a:endParaRPr>
        </a:p>
      </dgm:t>
    </dgm:pt>
    <dgm:pt modelId="{B983738D-B6CD-4ACC-B021-5D6559383373}">
      <dgm:prSet phldrT="[Text]" custT="1"/>
      <dgm:spPr>
        <a:xfrm>
          <a:off x="9729732" y="887615"/>
          <a:ext cx="2196003" cy="606408"/>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Non compliance to key legislation, prescripts and policies </a:t>
          </a:r>
        </a:p>
      </dgm:t>
    </dgm:pt>
    <dgm:pt modelId="{7560B32A-7E95-48CB-8C6D-0F10B90600A1}" type="sibTrans" cxnId="{9990CE20-CD65-4E97-9E00-1451F38FFCFD}">
      <dgm:prSet/>
      <dgm:spPr/>
      <dgm:t>
        <a:bodyPr/>
        <a:lstStyle/>
        <a:p>
          <a:endParaRPr lang="en-GB">
            <a:solidFill>
              <a:schemeClr val="tx1"/>
            </a:solidFill>
          </a:endParaRPr>
        </a:p>
      </dgm:t>
    </dgm:pt>
    <dgm:pt modelId="{0C80A140-103B-41C0-9712-E50AB27044E3}" type="parTrans" cxnId="{9990CE20-CD65-4E97-9E00-1451F38FFCFD}">
      <dgm:prSet/>
      <dgm:spPr>
        <a:xfrm>
          <a:off x="5305616" y="776246"/>
          <a:ext cx="5522117" cy="91440"/>
        </a:xfrm>
        <a:noFill/>
        <a:ln w="12700" cap="flat" cmpd="sng" algn="ctr">
          <a:noFill/>
          <a:prstDash val="solid"/>
          <a:miter lim="800000"/>
        </a:ln>
        <a:effectLst/>
      </dgm:spPr>
      <dgm:t>
        <a:bodyPr/>
        <a:lstStyle/>
        <a:p>
          <a:endParaRPr lang="en-GB">
            <a:solidFill>
              <a:schemeClr val="tx1"/>
            </a:solidFill>
          </a:endParaRPr>
        </a:p>
      </dgm:t>
    </dgm:pt>
    <dgm:pt modelId="{F4EA981A-F986-4877-BD25-5C14FE41D176}">
      <dgm:prSet phldrT="[Text]" custT="1"/>
      <dgm:spPr>
        <a:xfrm>
          <a:off x="7485399" y="1670081"/>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Weak economic growth outlook</a:t>
          </a:r>
        </a:p>
      </dgm:t>
    </dgm:pt>
    <dgm:pt modelId="{259B2E52-E7E2-4233-88B2-F72E854BF241}" type="parTrans" cxnId="{8A65B98B-160B-4BBA-B57D-BE2EDF8D11CF}">
      <dgm:prSet/>
      <dgm:spPr>
        <a:xfrm>
          <a:off x="7485399" y="1577121"/>
          <a:ext cx="148148" cy="377121"/>
        </a:xfrm>
        <a:noFill/>
        <a:ln w="12700" cap="flat" cmpd="sng" algn="ctr">
          <a:noFill/>
          <a:prstDash val="solid"/>
          <a:miter lim="800000"/>
        </a:ln>
        <a:effectLst/>
      </dgm:spPr>
      <dgm:t>
        <a:bodyPr/>
        <a:lstStyle/>
        <a:p>
          <a:endParaRPr lang="en-GB">
            <a:solidFill>
              <a:schemeClr val="tx1"/>
            </a:solidFill>
          </a:endParaRPr>
        </a:p>
      </dgm:t>
    </dgm:pt>
    <dgm:pt modelId="{1F6D5CE7-832A-4E64-B338-FC127EF3F3A6}" type="sibTrans" cxnId="{8A65B98B-160B-4BBA-B57D-BE2EDF8D11CF}">
      <dgm:prSet/>
      <dgm:spPr/>
      <dgm:t>
        <a:bodyPr/>
        <a:lstStyle/>
        <a:p>
          <a:endParaRPr lang="en-GB">
            <a:solidFill>
              <a:schemeClr val="tx1"/>
            </a:solidFill>
          </a:endParaRPr>
        </a:p>
      </dgm:t>
    </dgm:pt>
    <dgm:pt modelId="{698692B6-1357-4EE6-9048-DE912A24D330}">
      <dgm:prSet custT="1"/>
      <dgm:spPr>
        <a:xfrm>
          <a:off x="7531443" y="2950482"/>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capital investment in production workshops and agriculture</a:t>
          </a:r>
          <a:endParaRPr lang="en-GB" sz="1050" dirty="0">
            <a:solidFill>
              <a:sysClr val="windowText" lastClr="000000"/>
            </a:solidFill>
            <a:latin typeface="Lato"/>
            <a:ea typeface="+mn-ea"/>
            <a:cs typeface="+mn-cs"/>
          </a:endParaRPr>
        </a:p>
      </dgm:t>
    </dgm:pt>
    <dgm:pt modelId="{4367FA1D-0ED9-4CD2-A69D-AB32E669494E}" type="parTrans" cxnId="{E161F89A-1A0B-4996-B618-695861845180}">
      <dgm:prSet/>
      <dgm:spPr>
        <a:xfrm>
          <a:off x="7531443" y="1577121"/>
          <a:ext cx="102103" cy="1657522"/>
        </a:xfrm>
        <a:noFill/>
        <a:ln w="12700" cap="flat" cmpd="sng" algn="ctr">
          <a:noFill/>
          <a:prstDash val="solid"/>
          <a:miter lim="800000"/>
        </a:ln>
        <a:effectLst/>
      </dgm:spPr>
      <dgm:t>
        <a:bodyPr/>
        <a:lstStyle/>
        <a:p>
          <a:endParaRPr lang="en-GB">
            <a:solidFill>
              <a:schemeClr val="tx1"/>
            </a:solidFill>
          </a:endParaRPr>
        </a:p>
      </dgm:t>
    </dgm:pt>
    <dgm:pt modelId="{8FA8089E-2D51-4610-81D7-AB21AC040FFC}" type="sibTrans" cxnId="{E161F89A-1A0B-4996-B618-695861845180}">
      <dgm:prSet/>
      <dgm:spPr/>
      <dgm:t>
        <a:bodyPr/>
        <a:lstStyle/>
        <a:p>
          <a:endParaRPr lang="en-GB">
            <a:solidFill>
              <a:schemeClr val="tx1"/>
            </a:solidFill>
          </a:endParaRPr>
        </a:p>
      </dgm:t>
    </dgm:pt>
    <dgm:pt modelId="{93ABD30C-0E7B-486F-A681-9A005A28D744}">
      <dgm:prSet phldrT="[Text]" custT="1"/>
      <dgm:spPr>
        <a:xfrm>
          <a:off x="7531443" y="2310279"/>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spending capacity in some expenditure line items</a:t>
          </a:r>
          <a:endParaRPr lang="en-GB" sz="1050" dirty="0" smtClean="0">
            <a:solidFill>
              <a:sysClr val="windowText" lastClr="000000"/>
            </a:solidFill>
            <a:latin typeface="Lato"/>
            <a:ea typeface="+mn-ea"/>
            <a:cs typeface="+mn-cs"/>
          </a:endParaRPr>
        </a:p>
      </dgm:t>
    </dgm:pt>
    <dgm:pt modelId="{B5C8BB55-6EF8-44D3-999A-69265F0E1FBC}" type="parTrans" cxnId="{1F611F66-E825-490E-BB89-E0A1B69C25A0}">
      <dgm:prSet/>
      <dgm:spPr>
        <a:xfrm>
          <a:off x="7531443" y="1577121"/>
          <a:ext cx="102103" cy="1017319"/>
        </a:xfrm>
        <a:noFill/>
        <a:ln w="12700" cap="flat" cmpd="sng" algn="ctr">
          <a:noFill/>
          <a:prstDash val="solid"/>
          <a:miter lim="800000"/>
        </a:ln>
        <a:effectLst/>
      </dgm:spPr>
      <dgm:t>
        <a:bodyPr/>
        <a:lstStyle/>
        <a:p>
          <a:endParaRPr lang="en-GB">
            <a:solidFill>
              <a:schemeClr val="tx1"/>
            </a:solidFill>
          </a:endParaRPr>
        </a:p>
      </dgm:t>
    </dgm:pt>
    <dgm:pt modelId="{863BD30A-A7E9-45B6-B8A5-658CBA70071A}" type="sibTrans" cxnId="{1F611F66-E825-490E-BB89-E0A1B69C25A0}">
      <dgm:prSet/>
      <dgm:spPr/>
      <dgm:t>
        <a:bodyPr/>
        <a:lstStyle/>
        <a:p>
          <a:endParaRPr lang="en-GB">
            <a:solidFill>
              <a:schemeClr val="tx1"/>
            </a:solidFill>
          </a:endParaRPr>
        </a:p>
      </dgm:t>
    </dgm:pt>
    <dgm:pt modelId="{9A7E722F-D005-476C-8D43-4076AB9F30B1}">
      <dgm:prSet phldrT="[Text]" custT="1"/>
      <dgm:spPr>
        <a:xfrm>
          <a:off x="87527" y="1551552"/>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ata is maintained in multiple systems that are not integrated</a:t>
          </a:r>
          <a:endParaRPr lang="en-GB" sz="1000" dirty="0">
            <a:solidFill>
              <a:sysClr val="windowText" lastClr="000000"/>
            </a:solidFill>
            <a:latin typeface="Lato"/>
            <a:ea typeface="+mn-ea"/>
            <a:cs typeface="+mn-cs"/>
          </a:endParaRPr>
        </a:p>
      </dgm:t>
    </dgm:pt>
    <dgm:pt modelId="{F2D49BD6-65DF-42A1-872F-280CCBA4DCCB}" type="parTrans" cxnId="{0F4674F9-D005-40C9-B531-F221C97655CF}">
      <dgm:prSet/>
      <dgm:spPr>
        <a:xfrm>
          <a:off x="1899965" y="1499617"/>
          <a:ext cx="91440" cy="277292"/>
        </a:xfrm>
        <a:noFill/>
        <a:ln w="12700" cap="flat" cmpd="sng" algn="ctr">
          <a:noFill/>
          <a:prstDash val="solid"/>
          <a:miter lim="800000"/>
        </a:ln>
        <a:effectLst/>
      </dgm:spPr>
      <dgm:t>
        <a:bodyPr/>
        <a:lstStyle/>
        <a:p>
          <a:endParaRPr lang="en-GB">
            <a:solidFill>
              <a:schemeClr val="tx1"/>
            </a:solidFill>
          </a:endParaRPr>
        </a:p>
      </dgm:t>
    </dgm:pt>
    <dgm:pt modelId="{E9B0E5CE-4B6A-49EA-81F0-70936ACBEAC6}" type="sibTrans" cxnId="{0F4674F9-D005-40C9-B531-F221C97655CF}">
      <dgm:prSet/>
      <dgm:spPr/>
      <dgm:t>
        <a:bodyPr/>
        <a:lstStyle/>
        <a:p>
          <a:endParaRPr lang="en-GB">
            <a:solidFill>
              <a:schemeClr val="tx1"/>
            </a:solidFill>
          </a:endParaRPr>
        </a:p>
      </dgm:t>
    </dgm:pt>
    <dgm:pt modelId="{E13C7255-99C3-463C-88B3-944FDDEDDCC1}">
      <dgm:prSet phldrT="[Text]" custT="1"/>
      <dgm:spPr>
        <a:xfrm>
          <a:off x="9905794" y="2583322"/>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Inadequate / Assurance gap on compliance </a:t>
          </a:r>
        </a:p>
      </dgm:t>
    </dgm:pt>
    <dgm:pt modelId="{D9CCD712-DF0C-486C-9EAE-42146F1FF777}" type="parTrans" cxnId="{2814F37C-D24A-44F6-A865-9CA9133E92C4}">
      <dgm:prSet/>
      <dgm:spPr>
        <a:xfrm>
          <a:off x="9860074" y="1494023"/>
          <a:ext cx="91440" cy="1314655"/>
        </a:xfrm>
        <a:noFill/>
        <a:ln w="12700" cap="flat" cmpd="sng" algn="ctr">
          <a:noFill/>
          <a:prstDash val="solid"/>
          <a:miter lim="800000"/>
        </a:ln>
        <a:effectLst/>
      </dgm:spPr>
      <dgm:t>
        <a:bodyPr/>
        <a:lstStyle/>
        <a:p>
          <a:endParaRPr lang="en-GB">
            <a:solidFill>
              <a:schemeClr val="tx1"/>
            </a:solidFill>
          </a:endParaRPr>
        </a:p>
      </dgm:t>
    </dgm:pt>
    <dgm:pt modelId="{731F01EC-ADF1-4DB2-8C85-331B10078BC3}" type="sibTrans" cxnId="{2814F37C-D24A-44F6-A865-9CA9133E92C4}">
      <dgm:prSet/>
      <dgm:spPr/>
      <dgm:t>
        <a:bodyPr/>
        <a:lstStyle/>
        <a:p>
          <a:endParaRPr lang="en-GB">
            <a:solidFill>
              <a:schemeClr val="tx1"/>
            </a:solidFill>
          </a:endParaRPr>
        </a:p>
      </dgm:t>
    </dgm:pt>
    <dgm:pt modelId="{4A08814D-C873-480C-BD28-7A65D53F71D8}">
      <dgm:prSet phldrT="[Text]" custT="1"/>
      <dgm:spPr>
        <a:xfrm>
          <a:off x="9905794" y="4198008"/>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elays in investigations, inadequate consequence management</a:t>
          </a:r>
        </a:p>
      </dgm:t>
    </dgm:pt>
    <dgm:pt modelId="{143F3EEF-62D8-43AD-8063-BA1FD86AC836}" type="parTrans" cxnId="{EFD6FE5F-A43F-4B35-8B32-88E6299931AB}">
      <dgm:prSet/>
      <dgm:spPr>
        <a:xfrm>
          <a:off x="9860074" y="1494023"/>
          <a:ext cx="91440" cy="2929341"/>
        </a:xfrm>
        <a:noFill/>
        <a:ln w="12700" cap="flat" cmpd="sng" algn="ctr">
          <a:noFill/>
          <a:prstDash val="solid"/>
          <a:miter lim="800000"/>
        </a:ln>
        <a:effectLst/>
      </dgm:spPr>
      <dgm:t>
        <a:bodyPr/>
        <a:lstStyle/>
        <a:p>
          <a:endParaRPr lang="en-GB">
            <a:solidFill>
              <a:schemeClr val="tx1"/>
            </a:solidFill>
          </a:endParaRPr>
        </a:p>
      </dgm:t>
    </dgm:pt>
    <dgm:pt modelId="{129A8D46-961B-4A50-B8CF-A0116A842DB6}" type="sibTrans" cxnId="{EFD6FE5F-A43F-4B35-8B32-88E6299931AB}">
      <dgm:prSet/>
      <dgm:spPr/>
      <dgm:t>
        <a:bodyPr/>
        <a:lstStyle/>
        <a:p>
          <a:endParaRPr lang="en-GB">
            <a:solidFill>
              <a:schemeClr val="tx1"/>
            </a:solidFill>
          </a:endParaRPr>
        </a:p>
      </dgm:t>
    </dgm:pt>
    <dgm:pt modelId="{44283B74-6908-4E7F-9B11-0AFB346BE0A4}">
      <dgm:prSet phldrT="[Text]" custT="1"/>
      <dgm:spPr>
        <a:xfrm>
          <a:off x="9905794" y="4720142"/>
          <a:ext cx="1794480" cy="464401"/>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contract management at Regional/ Management Area level</a:t>
          </a:r>
        </a:p>
      </dgm:t>
    </dgm:pt>
    <dgm:pt modelId="{6C962E12-A7E7-4DBA-B1EE-60065B1DDA80}" type="parTrans" cxnId="{283E295D-081C-4040-8A51-2B21982470D6}">
      <dgm:prSet/>
      <dgm:spPr>
        <a:xfrm>
          <a:off x="9860074" y="1494023"/>
          <a:ext cx="91440" cy="3458319"/>
        </a:xfrm>
        <a:noFill/>
        <a:ln w="12700" cap="flat" cmpd="sng" algn="ctr">
          <a:noFill/>
          <a:prstDash val="solid"/>
          <a:miter lim="800000"/>
        </a:ln>
        <a:effectLst/>
      </dgm:spPr>
      <dgm:t>
        <a:bodyPr/>
        <a:lstStyle/>
        <a:p>
          <a:endParaRPr lang="en-GB">
            <a:solidFill>
              <a:schemeClr val="tx1"/>
            </a:solidFill>
          </a:endParaRPr>
        </a:p>
      </dgm:t>
    </dgm:pt>
    <dgm:pt modelId="{E875A126-A25B-4CD6-A40C-FEDBC81D9ECC}" type="sibTrans" cxnId="{283E295D-081C-4040-8A51-2B21982470D6}">
      <dgm:prSet/>
      <dgm:spPr/>
      <dgm:t>
        <a:bodyPr/>
        <a:lstStyle/>
        <a:p>
          <a:endParaRPr lang="en-GB">
            <a:solidFill>
              <a:schemeClr val="tx1"/>
            </a:solidFill>
          </a:endParaRPr>
        </a:p>
      </dgm:t>
    </dgm:pt>
    <dgm:pt modelId="{8CE32C3B-0D8F-4350-95E0-06E2647F48A5}">
      <dgm:prSet phldrT="[Text]" custT="1"/>
      <dgm:spPr>
        <a:xfrm>
          <a:off x="9905794" y="3649557"/>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oor planning (demand management)</a:t>
          </a:r>
        </a:p>
      </dgm:t>
    </dgm:pt>
    <dgm:pt modelId="{CBD5489F-E4C0-487E-8E70-409B6544C7FE}" type="parTrans" cxnId="{7283AEC3-5A9D-49B3-B035-280F58A08BAC}">
      <dgm:prSet/>
      <dgm:spPr>
        <a:xfrm>
          <a:off x="9860074" y="1494023"/>
          <a:ext cx="91440" cy="2380890"/>
        </a:xfrm>
        <a:noFill/>
        <a:ln w="12700" cap="flat" cmpd="sng" algn="ctr">
          <a:noFill/>
          <a:prstDash val="solid"/>
          <a:miter lim="800000"/>
        </a:ln>
        <a:effectLst/>
      </dgm:spPr>
      <dgm:t>
        <a:bodyPr/>
        <a:lstStyle/>
        <a:p>
          <a:endParaRPr lang="en-GB">
            <a:solidFill>
              <a:schemeClr val="tx1"/>
            </a:solidFill>
          </a:endParaRPr>
        </a:p>
      </dgm:t>
    </dgm:pt>
    <dgm:pt modelId="{3D84A69F-E197-4E30-9927-1DF3D525EF39}" type="sibTrans" cxnId="{7283AEC3-5A9D-49B3-B035-280F58A08BAC}">
      <dgm:prSet/>
      <dgm:spPr/>
      <dgm:t>
        <a:bodyPr/>
        <a:lstStyle/>
        <a:p>
          <a:endParaRPr lang="en-GB">
            <a:solidFill>
              <a:schemeClr val="tx1"/>
            </a:solidFill>
          </a:endParaRPr>
        </a:p>
      </dgm:t>
    </dgm:pt>
    <dgm:pt modelId="{83E65023-33D0-46DA-A1B3-7F0C7C8C046D}">
      <dgm:prSet phldrT="[Text]" custT="1"/>
      <dgm:spPr>
        <a:xfrm>
          <a:off x="2512579" y="886592"/>
          <a:ext cx="2196003" cy="517130"/>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Inadequate organisational  capacity</a:t>
          </a:r>
          <a:endParaRPr lang="en-GB" sz="1100" b="1" dirty="0">
            <a:solidFill>
              <a:sysClr val="windowText" lastClr="000000"/>
            </a:solidFill>
            <a:latin typeface="Lato"/>
            <a:ea typeface="+mn-ea"/>
            <a:cs typeface="+mn-cs"/>
          </a:endParaRPr>
        </a:p>
      </dgm:t>
    </dgm:pt>
    <dgm:pt modelId="{5BCFE927-CDC4-4421-909F-E280F719A3A5}" type="parTrans" cxnId="{7B0495A3-A137-4827-9401-8B66BE8E00C2}">
      <dgm:prSet/>
      <dgm:spPr>
        <a:xfrm>
          <a:off x="3610581" y="776246"/>
          <a:ext cx="1695035" cy="91440"/>
        </a:xfrm>
        <a:noFill/>
        <a:ln w="12700" cap="flat" cmpd="sng" algn="ctr">
          <a:noFill/>
          <a:prstDash val="solid"/>
          <a:miter lim="800000"/>
        </a:ln>
        <a:effectLst/>
      </dgm:spPr>
      <dgm:t>
        <a:bodyPr/>
        <a:lstStyle/>
        <a:p>
          <a:endParaRPr lang="en-GB"/>
        </a:p>
      </dgm:t>
    </dgm:pt>
    <dgm:pt modelId="{41873B5B-5F5A-4CF2-999E-5FE4C038B5D3}" type="sibTrans" cxnId="{7B0495A3-A137-4827-9401-8B66BE8E00C2}">
      <dgm:prSet/>
      <dgm:spPr/>
      <dgm:t>
        <a:bodyPr/>
        <a:lstStyle/>
        <a:p>
          <a:endParaRPr lang="en-GB"/>
        </a:p>
      </dgm:t>
    </dgm:pt>
    <dgm:pt modelId="{E9AADBDC-3898-4643-98BB-93A35F6F1C1F}">
      <dgm:prSet custT="1"/>
      <dgm:spPr>
        <a:xfrm>
          <a:off x="4919463" y="886592"/>
          <a:ext cx="2196003" cy="551606"/>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400" b="1" dirty="0" smtClean="0">
              <a:solidFill>
                <a:sysClr val="windowText" lastClr="000000"/>
              </a:solidFill>
              <a:latin typeface="Lato"/>
              <a:ea typeface="+mn-ea"/>
              <a:cs typeface="+mn-cs"/>
            </a:rPr>
            <a:t>Direct cause:</a:t>
          </a:r>
        </a:p>
        <a:p>
          <a:r>
            <a:rPr lang="en-ZA" sz="1400" b="1" dirty="0" smtClean="0">
              <a:solidFill>
                <a:sysClr val="windowText" lastClr="000000"/>
              </a:solidFill>
              <a:latin typeface="Lato"/>
              <a:ea typeface="+mn-ea"/>
              <a:cs typeface="+mn-cs"/>
            </a:rPr>
            <a:t>Lowly skilled staff</a:t>
          </a:r>
          <a:endParaRPr lang="en-GB" sz="1400" b="1" dirty="0">
            <a:solidFill>
              <a:sysClr val="windowText" lastClr="000000"/>
            </a:solidFill>
            <a:latin typeface="Lato"/>
            <a:ea typeface="+mn-ea"/>
            <a:cs typeface="+mn-cs"/>
          </a:endParaRPr>
        </a:p>
      </dgm:t>
    </dgm:pt>
    <dgm:pt modelId="{3CFDB6E9-11D5-4EF0-A84F-588AF277B995}" type="parTrans" cxnId="{133C2F8B-2205-4D82-A49C-08BF37C9CA3D}">
      <dgm:prSet/>
      <dgm:spPr>
        <a:xfrm>
          <a:off x="5305616" y="776246"/>
          <a:ext cx="711848" cy="91440"/>
        </a:xfrm>
        <a:noFill/>
        <a:ln w="12700" cap="flat" cmpd="sng" algn="ctr">
          <a:noFill/>
          <a:prstDash val="solid"/>
          <a:miter lim="800000"/>
        </a:ln>
        <a:effectLst/>
      </dgm:spPr>
      <dgm:t>
        <a:bodyPr/>
        <a:lstStyle/>
        <a:p>
          <a:endParaRPr lang="en-GB"/>
        </a:p>
      </dgm:t>
    </dgm:pt>
    <dgm:pt modelId="{F6738647-C183-4A57-A2B7-E23A6AB95EC2}" type="sibTrans" cxnId="{133C2F8B-2205-4D82-A49C-08BF37C9CA3D}">
      <dgm:prSet/>
      <dgm:spPr/>
      <dgm:t>
        <a:bodyPr/>
        <a:lstStyle/>
        <a:p>
          <a:endParaRPr lang="en-GB"/>
        </a:p>
      </dgm:t>
    </dgm:pt>
    <dgm:pt modelId="{25DBDE9B-DA2B-4E29-B989-575DA86021B8}">
      <dgm:prSet custT="1"/>
      <dgm:spPr>
        <a:xfrm>
          <a:off x="5058557" y="1527813"/>
          <a:ext cx="2027076" cy="674880"/>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training and leadership development</a:t>
          </a:r>
          <a:endParaRPr lang="en-GB" sz="1200" dirty="0">
            <a:solidFill>
              <a:sysClr val="windowText" lastClr="000000"/>
            </a:solidFill>
            <a:latin typeface="Lato"/>
            <a:ea typeface="+mn-ea"/>
            <a:cs typeface="+mn-cs"/>
          </a:endParaRPr>
        </a:p>
      </dgm:t>
    </dgm:pt>
    <dgm:pt modelId="{3434C784-D2EB-4907-A577-1424C17A4231}" type="parTrans" cxnId="{AA6359FF-4F85-4ED4-8C88-2B1E5DA2435B}">
      <dgm:prSet/>
      <dgm:spPr>
        <a:xfrm>
          <a:off x="5012837" y="1438198"/>
          <a:ext cx="91440" cy="427055"/>
        </a:xfrm>
        <a:noFill/>
        <a:ln w="12700" cap="flat" cmpd="sng" algn="ctr">
          <a:noFill/>
          <a:prstDash val="solid"/>
          <a:miter lim="800000"/>
        </a:ln>
        <a:effectLst/>
      </dgm:spPr>
      <dgm:t>
        <a:bodyPr/>
        <a:lstStyle/>
        <a:p>
          <a:endParaRPr lang="en-GB"/>
        </a:p>
      </dgm:t>
    </dgm:pt>
    <dgm:pt modelId="{50EDEB7E-A84B-4457-B895-1CBBC66EB484}" type="sibTrans" cxnId="{AA6359FF-4F85-4ED4-8C88-2B1E5DA2435B}">
      <dgm:prSet/>
      <dgm:spPr/>
      <dgm:t>
        <a:bodyPr/>
        <a:lstStyle/>
        <a:p>
          <a:endParaRPr lang="en-GB"/>
        </a:p>
      </dgm:t>
    </dgm:pt>
    <dgm:pt modelId="{36F930DE-36A9-4BBF-B0E6-9FDFEF9E53E4}">
      <dgm:prSet custT="1"/>
      <dgm:spPr>
        <a:xfrm>
          <a:off x="5075414" y="2310708"/>
          <a:ext cx="2027076" cy="639364"/>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Lack of talent management strategy</a:t>
          </a:r>
          <a:endParaRPr lang="en-GB" sz="1200" dirty="0">
            <a:solidFill>
              <a:sysClr val="windowText" lastClr="000000"/>
            </a:solidFill>
            <a:latin typeface="Lato"/>
            <a:ea typeface="+mn-ea"/>
            <a:cs typeface="+mn-cs"/>
          </a:endParaRPr>
        </a:p>
      </dgm:t>
    </dgm:pt>
    <dgm:pt modelId="{EB2D0AFA-7107-4A7F-B30A-85794C6D48A5}" type="parTrans" cxnId="{743F7899-4BBB-4EEF-86C9-0967FD1E65A9}">
      <dgm:prSet/>
      <dgm:spPr>
        <a:xfrm>
          <a:off x="5029694" y="1438198"/>
          <a:ext cx="91440" cy="1192191"/>
        </a:xfrm>
        <a:noFill/>
        <a:ln w="12700" cap="flat" cmpd="sng" algn="ctr">
          <a:noFill/>
          <a:prstDash val="solid"/>
          <a:miter lim="800000"/>
        </a:ln>
        <a:effectLst/>
      </dgm:spPr>
      <dgm:t>
        <a:bodyPr/>
        <a:lstStyle/>
        <a:p>
          <a:endParaRPr lang="en-GB"/>
        </a:p>
      </dgm:t>
    </dgm:pt>
    <dgm:pt modelId="{D3C4AB0A-4E1C-47C7-BEF5-32E8F3E7149D}" type="sibTrans" cxnId="{743F7899-4BBB-4EEF-86C9-0967FD1E65A9}">
      <dgm:prSet/>
      <dgm:spPr/>
      <dgm:t>
        <a:bodyPr/>
        <a:lstStyle/>
        <a:p>
          <a:endParaRPr lang="en-GB"/>
        </a:p>
      </dgm:t>
    </dgm:pt>
    <dgm:pt modelId="{2FEE9ABB-9118-4F89-B57E-5FB3AE26A9DD}">
      <dgm:prSet phldrT="[Text]" custT="1"/>
      <dgm:spPr>
        <a:xfrm>
          <a:off x="9902486" y="1561013"/>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nethical conduct</a:t>
          </a:r>
        </a:p>
      </dgm:t>
    </dgm:pt>
    <dgm:pt modelId="{053B73E8-8B63-4D84-B935-856163DE1EFC}" type="parTrans" cxnId="{0606DEBD-A738-45F8-878E-22E1464A165A}">
      <dgm:prSet/>
      <dgm:spPr>
        <a:xfrm>
          <a:off x="9856766" y="1494023"/>
          <a:ext cx="91440" cy="292346"/>
        </a:xfrm>
        <a:noFill/>
        <a:ln w="12700" cap="flat" cmpd="sng" algn="ctr">
          <a:noFill/>
          <a:prstDash val="solid"/>
          <a:miter lim="800000"/>
        </a:ln>
        <a:effectLst/>
      </dgm:spPr>
      <dgm:t>
        <a:bodyPr/>
        <a:lstStyle/>
        <a:p>
          <a:endParaRPr lang="en-GB"/>
        </a:p>
      </dgm:t>
    </dgm:pt>
    <dgm:pt modelId="{F9266172-523F-4991-A3D1-6A0955532AA2}" type="sibTrans" cxnId="{0606DEBD-A738-45F8-878E-22E1464A165A}">
      <dgm:prSet/>
      <dgm:spPr/>
      <dgm:t>
        <a:bodyPr/>
        <a:lstStyle/>
        <a:p>
          <a:endParaRPr lang="en-GB"/>
        </a:p>
      </dgm:t>
    </dgm:pt>
    <dgm:pt modelId="{A8A7589E-3DC7-45D1-8F72-BB5B052E3F69}">
      <dgm:prSet custT="1"/>
      <dgm:spPr>
        <a:xfrm>
          <a:off x="87527" y="2072113"/>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Manual systems that are prone to human error, high security risks</a:t>
          </a:r>
          <a:endParaRPr lang="en-GB" sz="1000" dirty="0" smtClean="0">
            <a:solidFill>
              <a:sysClr val="windowText" lastClr="000000"/>
            </a:solidFill>
            <a:latin typeface="Lato"/>
            <a:ea typeface="+mn-ea"/>
            <a:cs typeface="+mn-cs"/>
          </a:endParaRPr>
        </a:p>
      </dgm:t>
    </dgm:pt>
    <dgm:pt modelId="{A4FDCB02-4C5E-4D69-833B-37E08536214A}" type="parTrans" cxnId="{D5BEF9F0-CA14-4245-AF76-AA1EDD37020C}">
      <dgm:prSet/>
      <dgm:spPr>
        <a:xfrm>
          <a:off x="1899965" y="1499617"/>
          <a:ext cx="91440" cy="797853"/>
        </a:xfrm>
        <a:noFill/>
        <a:ln w="12700" cap="flat" cmpd="sng" algn="ctr">
          <a:noFill/>
          <a:prstDash val="solid"/>
          <a:miter lim="800000"/>
        </a:ln>
        <a:effectLst/>
      </dgm:spPr>
      <dgm:t>
        <a:bodyPr/>
        <a:lstStyle/>
        <a:p>
          <a:endParaRPr lang="en-GB"/>
        </a:p>
      </dgm:t>
    </dgm:pt>
    <dgm:pt modelId="{8F84F8C6-91B2-45A5-90E5-6C25B3D5C642}" type="sibTrans" cxnId="{D5BEF9F0-CA14-4245-AF76-AA1EDD37020C}">
      <dgm:prSet/>
      <dgm:spPr/>
      <dgm:t>
        <a:bodyPr/>
        <a:lstStyle/>
        <a:p>
          <a:endParaRPr lang="en-GB"/>
        </a:p>
      </dgm:t>
    </dgm:pt>
    <dgm:pt modelId="{8AFF9318-8DC2-4264-8170-0C61AAFD79FE}">
      <dgm:prSet custT="1"/>
      <dgm:spPr>
        <a:xfrm>
          <a:off x="87527" y="2594252"/>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100" dirty="0" smtClean="0">
              <a:solidFill>
                <a:sysClr val="windowText" lastClr="000000"/>
              </a:solidFill>
              <a:latin typeface="Lato"/>
              <a:ea typeface="+mn-ea"/>
              <a:cs typeface="+mn-cs"/>
            </a:rPr>
            <a:t>Inadequate ICT connectivity (bandwidth)</a:t>
          </a:r>
        </a:p>
      </dgm:t>
    </dgm:pt>
    <dgm:pt modelId="{2536716E-9789-487C-BB4D-6AEC03913F78}" type="parTrans" cxnId="{19D485BA-3A07-4762-8298-37C38471E62F}">
      <dgm:prSet/>
      <dgm:spPr>
        <a:xfrm>
          <a:off x="1899965" y="1499617"/>
          <a:ext cx="91440" cy="1319991"/>
        </a:xfrm>
        <a:noFill/>
        <a:ln w="12700" cap="flat" cmpd="sng" algn="ctr">
          <a:noFill/>
          <a:prstDash val="solid"/>
          <a:miter lim="800000"/>
        </a:ln>
        <a:effectLst/>
      </dgm:spPr>
      <dgm:t>
        <a:bodyPr/>
        <a:lstStyle/>
        <a:p>
          <a:endParaRPr lang="en-GB"/>
        </a:p>
      </dgm:t>
    </dgm:pt>
    <dgm:pt modelId="{666101ED-8211-4982-9264-B193DFA3F7F5}" type="sibTrans" cxnId="{19D485BA-3A07-4762-8298-37C38471E62F}">
      <dgm:prSet/>
      <dgm:spPr/>
      <dgm:t>
        <a:bodyPr/>
        <a:lstStyle/>
        <a:p>
          <a:endParaRPr lang="en-GB"/>
        </a:p>
      </dgm:t>
    </dgm:pt>
    <dgm:pt modelId="{1ABE179A-0583-4343-B229-7613337F1F01}">
      <dgm:prSet custT="1"/>
      <dgm:spPr>
        <a:xfrm>
          <a:off x="87527" y="3116386"/>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Old infrastructure that is obsolete</a:t>
          </a:r>
          <a:endParaRPr lang="en-GB" sz="1200" dirty="0" smtClean="0">
            <a:solidFill>
              <a:sysClr val="windowText" lastClr="000000"/>
            </a:solidFill>
            <a:latin typeface="Lato"/>
            <a:ea typeface="+mn-ea"/>
            <a:cs typeface="+mn-cs"/>
          </a:endParaRPr>
        </a:p>
      </dgm:t>
    </dgm:pt>
    <dgm:pt modelId="{A8EDCBF5-48EE-49F5-8B6F-59FB4A586749}" type="parTrans" cxnId="{6AD3CF5A-10F3-453F-9365-B644F44C4A8C}">
      <dgm:prSet/>
      <dgm:spPr>
        <a:xfrm>
          <a:off x="1899965" y="1499617"/>
          <a:ext cx="91440" cy="1842125"/>
        </a:xfrm>
        <a:noFill/>
        <a:ln w="12700" cap="flat" cmpd="sng" algn="ctr">
          <a:noFill/>
          <a:prstDash val="solid"/>
          <a:miter lim="800000"/>
        </a:ln>
        <a:effectLst/>
      </dgm:spPr>
      <dgm:t>
        <a:bodyPr/>
        <a:lstStyle/>
        <a:p>
          <a:endParaRPr lang="en-GB"/>
        </a:p>
      </dgm:t>
    </dgm:pt>
    <dgm:pt modelId="{DBF07675-A5B8-400A-9E2A-E3662E5E1631}" type="sibTrans" cxnId="{6AD3CF5A-10F3-453F-9365-B644F44C4A8C}">
      <dgm:prSet/>
      <dgm:spPr/>
      <dgm:t>
        <a:bodyPr/>
        <a:lstStyle/>
        <a:p>
          <a:endParaRPr lang="en-GB"/>
        </a:p>
      </dgm:t>
    </dgm:pt>
    <dgm:pt modelId="{B3CDC9F2-1FA6-4E0F-8439-B8268D9B8069}">
      <dgm:prSet custT="1"/>
      <dgm:spPr>
        <a:xfrm>
          <a:off x="87527" y="3713112"/>
          <a:ext cx="1858157" cy="60384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Lack of  security technology standard to meet functional requirements</a:t>
          </a:r>
          <a:endParaRPr lang="en-GB" sz="1050" dirty="0" smtClean="0">
            <a:solidFill>
              <a:sysClr val="windowText" lastClr="000000"/>
            </a:solidFill>
            <a:latin typeface="Lato"/>
            <a:ea typeface="+mn-ea"/>
            <a:cs typeface="+mn-cs"/>
          </a:endParaRPr>
        </a:p>
      </dgm:t>
    </dgm:pt>
    <dgm:pt modelId="{74CFB57A-27E6-492C-AA1E-444AA012A6C4}" type="parTrans" cxnId="{EEFEDA24-8561-4FEC-9D00-07968C607754}">
      <dgm:prSet/>
      <dgm:spPr>
        <a:xfrm>
          <a:off x="1899965" y="1499617"/>
          <a:ext cx="91440" cy="2515417"/>
        </a:xfrm>
        <a:noFill/>
        <a:ln w="12700" cap="flat" cmpd="sng" algn="ctr">
          <a:noFill/>
          <a:prstDash val="solid"/>
          <a:miter lim="800000"/>
        </a:ln>
        <a:effectLst/>
      </dgm:spPr>
      <dgm:t>
        <a:bodyPr/>
        <a:lstStyle/>
        <a:p>
          <a:endParaRPr lang="en-GB"/>
        </a:p>
      </dgm:t>
    </dgm:pt>
    <dgm:pt modelId="{B0125F60-2B77-4FFD-9FBC-A9FA2F50345F}" type="sibTrans" cxnId="{EEFEDA24-8561-4FEC-9D00-07968C607754}">
      <dgm:prSet/>
      <dgm:spPr/>
      <dgm:t>
        <a:bodyPr/>
        <a:lstStyle/>
        <a:p>
          <a:endParaRPr lang="en-GB"/>
        </a:p>
      </dgm:t>
    </dgm:pt>
    <dgm:pt modelId="{55C81A84-977C-474F-9898-E3299C72446E}">
      <dgm:prSet custT="1"/>
      <dgm:spPr>
        <a:xfrm>
          <a:off x="87527" y="4388381"/>
          <a:ext cx="1858157" cy="78144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ysfunctional and ineffective of Security Technology (no integration between Information Network and Security Technology)</a:t>
          </a:r>
          <a:endParaRPr lang="en-GB" sz="1000" dirty="0" smtClean="0">
            <a:solidFill>
              <a:sysClr val="windowText" lastClr="000000"/>
            </a:solidFill>
            <a:latin typeface="Lato"/>
            <a:ea typeface="+mn-ea"/>
            <a:cs typeface="+mn-cs"/>
          </a:endParaRPr>
        </a:p>
      </dgm:t>
    </dgm:pt>
    <dgm:pt modelId="{85EB6D14-3548-49D4-9B2D-95B6FE3E896E}" type="parTrans" cxnId="{9E42F9B0-FA3B-424E-96E5-FB6842016EA0}">
      <dgm:prSet/>
      <dgm:spPr>
        <a:xfrm>
          <a:off x="1899965" y="1499617"/>
          <a:ext cx="91440" cy="3279485"/>
        </a:xfrm>
        <a:noFill/>
        <a:ln w="12700" cap="flat" cmpd="sng" algn="ctr">
          <a:noFill/>
          <a:prstDash val="solid"/>
          <a:miter lim="800000"/>
        </a:ln>
        <a:effectLst/>
      </dgm:spPr>
      <dgm:t>
        <a:bodyPr/>
        <a:lstStyle/>
        <a:p>
          <a:endParaRPr lang="en-GB"/>
        </a:p>
      </dgm:t>
    </dgm:pt>
    <dgm:pt modelId="{9018FE6B-7938-4F58-8E7C-8780258137CC}" type="sibTrans" cxnId="{9E42F9B0-FA3B-424E-96E5-FB6842016EA0}">
      <dgm:prSet/>
      <dgm:spPr/>
      <dgm:t>
        <a:bodyPr/>
        <a:lstStyle/>
        <a:p>
          <a:endParaRPr lang="en-GB"/>
        </a:p>
      </dgm:t>
    </dgm:pt>
    <dgm:pt modelId="{1E3C57A8-D11A-4464-B252-393BA62CA1A4}">
      <dgm:prSet/>
      <dgm:spPr>
        <a:xfrm>
          <a:off x="2613381" y="459598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Inadequate investment in integrated employee health and wellness</a:t>
          </a:r>
          <a:endParaRPr lang="en-GB" dirty="0">
            <a:solidFill>
              <a:sysClr val="windowText" lastClr="000000"/>
            </a:solidFill>
            <a:latin typeface="Lato"/>
            <a:ea typeface="+mn-ea"/>
            <a:cs typeface="+mn-cs"/>
          </a:endParaRPr>
        </a:p>
      </dgm:t>
    </dgm:pt>
    <dgm:pt modelId="{88907CE6-6462-4C5F-8943-6C7E5D76B19C}" type="parTrans" cxnId="{75AFB2F3-479B-494C-B247-2CE3D35FC60B}">
      <dgm:prSet/>
      <dgm:spPr>
        <a:xfrm>
          <a:off x="4443262" y="1403723"/>
          <a:ext cx="91440" cy="3417613"/>
        </a:xfrm>
        <a:noFill/>
        <a:ln w="12700" cap="flat" cmpd="sng" algn="ctr">
          <a:noFill/>
          <a:prstDash val="solid"/>
          <a:miter lim="800000"/>
        </a:ln>
        <a:effectLst/>
      </dgm:spPr>
      <dgm:t>
        <a:bodyPr/>
        <a:lstStyle/>
        <a:p>
          <a:endParaRPr lang="en-GB"/>
        </a:p>
      </dgm:t>
    </dgm:pt>
    <dgm:pt modelId="{544D910C-A3DC-4303-885C-9D01D7F73DFF}" type="sibTrans" cxnId="{75AFB2F3-479B-494C-B247-2CE3D35FC60B}">
      <dgm:prSet/>
      <dgm:spPr/>
      <dgm:t>
        <a:bodyPr/>
        <a:lstStyle/>
        <a:p>
          <a:endParaRPr lang="en-GB"/>
        </a:p>
      </dgm:t>
    </dgm:pt>
    <dgm:pt modelId="{F29A0D9E-A4D4-4086-BF87-078907F654D3}">
      <dgm:prSet custT="1"/>
      <dgm:spPr>
        <a:xfrm>
          <a:off x="5066869" y="3021618"/>
          <a:ext cx="2027076" cy="640130"/>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a:t>
          </a:r>
          <a:r>
            <a:rPr lang="en-ZA" sz="1200" dirty="0" err="1" smtClean="0">
              <a:solidFill>
                <a:sysClr val="windowText" lastClr="000000"/>
              </a:solidFill>
              <a:latin typeface="Lato"/>
              <a:ea typeface="+mn-ea"/>
              <a:cs typeface="+mn-cs"/>
            </a:rPr>
            <a:t>Covid</a:t>
          </a:r>
          <a:r>
            <a:rPr lang="en-ZA" sz="1200" dirty="0" smtClean="0">
              <a:solidFill>
                <a:sysClr val="windowText" lastClr="000000"/>
              </a:solidFill>
              <a:latin typeface="Lato"/>
              <a:ea typeface="+mn-ea"/>
              <a:cs typeface="+mn-cs"/>
            </a:rPr>
            <a:t> 19 awareness among officials</a:t>
          </a:r>
          <a:endParaRPr lang="en-GB" sz="1200" dirty="0">
            <a:solidFill>
              <a:sysClr val="windowText" lastClr="000000"/>
            </a:solidFill>
            <a:latin typeface="Lato"/>
            <a:ea typeface="+mn-ea"/>
            <a:cs typeface="+mn-cs"/>
          </a:endParaRPr>
        </a:p>
      </dgm:t>
    </dgm:pt>
    <dgm:pt modelId="{85F876EE-37BA-45E8-8766-D372D6B5A6B4}" type="parTrans" cxnId="{2C8C894A-A07D-4904-95D1-C54BA9177EDD}">
      <dgm:prSet/>
      <dgm:spPr>
        <a:xfrm>
          <a:off x="5021149" y="1438198"/>
          <a:ext cx="91440" cy="1903485"/>
        </a:xfrm>
        <a:noFill/>
        <a:ln w="12700" cap="flat" cmpd="sng" algn="ctr">
          <a:noFill/>
          <a:prstDash val="solid"/>
          <a:miter lim="800000"/>
        </a:ln>
        <a:effectLst/>
      </dgm:spPr>
      <dgm:t>
        <a:bodyPr/>
        <a:lstStyle/>
        <a:p>
          <a:endParaRPr lang="en-GB"/>
        </a:p>
      </dgm:t>
    </dgm:pt>
    <dgm:pt modelId="{DD5D082F-12EE-4E5C-86FC-FF114B8B3083}" type="sibTrans" cxnId="{2C8C894A-A07D-4904-95D1-C54BA9177EDD}">
      <dgm:prSet/>
      <dgm:spPr/>
      <dgm:t>
        <a:bodyPr/>
        <a:lstStyle/>
        <a:p>
          <a:endParaRPr lang="en-GB"/>
        </a:p>
      </dgm:t>
    </dgm:pt>
    <dgm:pt modelId="{2AC042F1-67EC-4815-A747-C27DA26D9618}" type="pres">
      <dgm:prSet presAssocID="{8022EEFC-19A3-4AF2-888C-321CE5B24E4C}" presName="hierChild1" presStyleCnt="0">
        <dgm:presLayoutVars>
          <dgm:orgChart val="1"/>
          <dgm:chPref val="1"/>
          <dgm:dir/>
          <dgm:animOne val="branch"/>
          <dgm:animLvl val="lvl"/>
          <dgm:resizeHandles/>
        </dgm:presLayoutVars>
      </dgm:prSet>
      <dgm:spPr/>
      <dgm:t>
        <a:bodyPr/>
        <a:lstStyle/>
        <a:p>
          <a:endParaRPr lang="en-GB"/>
        </a:p>
      </dgm:t>
    </dgm:pt>
    <dgm:pt modelId="{FB279467-F3D0-4A2A-9DFD-7DF66D00DCAB}" type="pres">
      <dgm:prSet presAssocID="{563B9CF3-40AE-4F6D-9802-FBE29F2DB0FD}" presName="hierRoot1" presStyleCnt="0">
        <dgm:presLayoutVars>
          <dgm:hierBranch val="init"/>
        </dgm:presLayoutVars>
      </dgm:prSet>
      <dgm:spPr/>
    </dgm:pt>
    <dgm:pt modelId="{EA635651-E5EE-4B65-A430-C8E1B4EEAABF}" type="pres">
      <dgm:prSet presAssocID="{563B9CF3-40AE-4F6D-9802-FBE29F2DB0FD}" presName="rootComposite1" presStyleCnt="0"/>
      <dgm:spPr/>
    </dgm:pt>
    <dgm:pt modelId="{A9E37B58-C84D-4333-9EB6-FEA63F667BD6}" type="pres">
      <dgm:prSet presAssocID="{563B9CF3-40AE-4F6D-9802-FBE29F2DB0FD}" presName="rootText1" presStyleLbl="node0" presStyleIdx="0" presStyleCnt="1" custScaleX="1148068" custScaleY="182370" custLinFactNeighborX="-86428" custLinFactNeighborY="-5584">
        <dgm:presLayoutVars>
          <dgm:chPref val="3"/>
        </dgm:presLayoutVars>
      </dgm:prSet>
      <dgm:spPr>
        <a:prstGeom prst="rect">
          <a:avLst/>
        </a:prstGeom>
      </dgm:spPr>
      <dgm:t>
        <a:bodyPr/>
        <a:lstStyle/>
        <a:p>
          <a:endParaRPr lang="en-GB"/>
        </a:p>
      </dgm:t>
    </dgm:pt>
    <dgm:pt modelId="{71995690-C90E-4D6E-B859-E011C699A051}" type="pres">
      <dgm:prSet presAssocID="{563B9CF3-40AE-4F6D-9802-FBE29F2DB0FD}" presName="rootConnector1" presStyleLbl="node1" presStyleIdx="0" presStyleCnt="0"/>
      <dgm:spPr/>
      <dgm:t>
        <a:bodyPr/>
        <a:lstStyle/>
        <a:p>
          <a:endParaRPr lang="en-GB"/>
        </a:p>
      </dgm:t>
    </dgm:pt>
    <dgm:pt modelId="{066E69C0-C6CF-4B2F-9503-59BB14177765}" type="pres">
      <dgm:prSet presAssocID="{563B9CF3-40AE-4F6D-9802-FBE29F2DB0FD}" presName="hierChild2" presStyleCnt="0"/>
      <dgm:spPr/>
    </dgm:pt>
    <dgm:pt modelId="{DE7B0CDF-331C-43D7-B14C-4D2214ECC84C}" type="pres">
      <dgm:prSet presAssocID="{A0F550C9-0B7E-4467-B60C-2FE33DB848F1}" presName="Name37" presStyleLbl="parChTrans1D2" presStyleIdx="0" presStyleCnt="5"/>
      <dgm:spPr>
        <a:custGeom>
          <a:avLst/>
          <a:gdLst/>
          <a:ahLst/>
          <a:cxnLst/>
          <a:rect l="0" t="0" r="0" b="0"/>
          <a:pathLst>
            <a:path>
              <a:moveTo>
                <a:pt x="4207614" y="45720"/>
              </a:moveTo>
              <a:lnTo>
                <a:pt x="0" y="45720"/>
              </a:lnTo>
              <a:lnTo>
                <a:pt x="0" y="111368"/>
              </a:lnTo>
            </a:path>
          </a:pathLst>
        </a:custGeom>
      </dgm:spPr>
      <dgm:t>
        <a:bodyPr/>
        <a:lstStyle/>
        <a:p>
          <a:endParaRPr lang="en-GB"/>
        </a:p>
      </dgm:t>
    </dgm:pt>
    <dgm:pt modelId="{E95E3131-A08A-43F9-AFEC-504F1171E205}" type="pres">
      <dgm:prSet presAssocID="{27C0C58C-3A95-4427-952F-34ADD3E4CA9C}" presName="hierRoot2" presStyleCnt="0">
        <dgm:presLayoutVars>
          <dgm:hierBranch val="l"/>
        </dgm:presLayoutVars>
      </dgm:prSet>
      <dgm:spPr/>
    </dgm:pt>
    <dgm:pt modelId="{EFC54E5C-7C6E-422C-87D3-57DFC09957EE}" type="pres">
      <dgm:prSet presAssocID="{27C0C58C-3A95-4427-952F-34ADD3E4CA9C}" presName="rootComposite" presStyleCnt="0"/>
      <dgm:spPr/>
    </dgm:pt>
    <dgm:pt modelId="{5C9EBB69-F299-433C-9832-400183B089DB}" type="pres">
      <dgm:prSet presAssocID="{27C0C58C-3A95-4427-952F-34ADD3E4CA9C}" presName="rootText" presStyleLbl="node2" presStyleIdx="0" presStyleCnt="5" custScaleX="243614" custScaleY="135785" custLinFactNeighborX="-24990" custLinFactNeighborY="-29859">
        <dgm:presLayoutVars>
          <dgm:chPref val="3"/>
        </dgm:presLayoutVars>
      </dgm:prSet>
      <dgm:spPr>
        <a:prstGeom prst="rect">
          <a:avLst/>
        </a:prstGeom>
      </dgm:spPr>
      <dgm:t>
        <a:bodyPr/>
        <a:lstStyle/>
        <a:p>
          <a:endParaRPr lang="en-GB"/>
        </a:p>
      </dgm:t>
    </dgm:pt>
    <dgm:pt modelId="{5658B9D7-A9F2-4897-B0C6-17D9C45E1BD9}" type="pres">
      <dgm:prSet presAssocID="{27C0C58C-3A95-4427-952F-34ADD3E4CA9C}" presName="rootConnector" presStyleLbl="node2" presStyleIdx="0" presStyleCnt="5"/>
      <dgm:spPr/>
      <dgm:t>
        <a:bodyPr/>
        <a:lstStyle/>
        <a:p>
          <a:endParaRPr lang="en-GB"/>
        </a:p>
      </dgm:t>
    </dgm:pt>
    <dgm:pt modelId="{3920BFA3-AC5C-4424-ACD7-7E148C18359E}" type="pres">
      <dgm:prSet presAssocID="{27C0C58C-3A95-4427-952F-34ADD3E4CA9C}" presName="hierChild4" presStyleCnt="0"/>
      <dgm:spPr/>
    </dgm:pt>
    <dgm:pt modelId="{72ADB7DE-FFDE-43B9-98C0-716921DBE890}" type="pres">
      <dgm:prSet presAssocID="{F2D49BD6-65DF-42A1-872F-280CCBA4DCCB}" presName="Name50" presStyleLbl="parChTrans1D3" presStyleIdx="0" presStyleCnt="26"/>
      <dgm:spPr>
        <a:custGeom>
          <a:avLst/>
          <a:gdLst/>
          <a:ahLst/>
          <a:cxnLst/>
          <a:rect l="0" t="0" r="0" b="0"/>
          <a:pathLst>
            <a:path>
              <a:moveTo>
                <a:pt x="76437" y="0"/>
              </a:moveTo>
              <a:lnTo>
                <a:pt x="76437" y="277292"/>
              </a:lnTo>
              <a:lnTo>
                <a:pt x="45720" y="277292"/>
              </a:lnTo>
            </a:path>
          </a:pathLst>
        </a:custGeom>
      </dgm:spPr>
      <dgm:t>
        <a:bodyPr/>
        <a:lstStyle/>
        <a:p>
          <a:endParaRPr lang="en-GB"/>
        </a:p>
      </dgm:t>
    </dgm:pt>
    <dgm:pt modelId="{E8072A26-277D-405E-9401-0A1FDF34E5D4}" type="pres">
      <dgm:prSet presAssocID="{9A7E722F-D005-476C-8D43-4076AB9F30B1}" presName="hierRoot2" presStyleCnt="0">
        <dgm:presLayoutVars>
          <dgm:hierBranch val="init"/>
        </dgm:presLayoutVars>
      </dgm:prSet>
      <dgm:spPr/>
    </dgm:pt>
    <dgm:pt modelId="{27EF17A1-D922-409F-996E-C9E02B5875EB}" type="pres">
      <dgm:prSet presAssocID="{9A7E722F-D005-476C-8D43-4076AB9F30B1}" presName="rootComposite" presStyleCnt="0"/>
      <dgm:spPr/>
    </dgm:pt>
    <dgm:pt modelId="{EC6C2DB6-0354-41F7-B81C-792F0FA9A4EE}" type="pres">
      <dgm:prSet presAssocID="{9A7E722F-D005-476C-8D43-4076AB9F30B1}" presName="rootText" presStyleLbl="node3" presStyleIdx="0" presStyleCnt="26" custScaleX="206135" custLinFactNeighborX="9162" custLinFactNeighborY="-60336">
        <dgm:presLayoutVars>
          <dgm:chPref val="3"/>
        </dgm:presLayoutVars>
      </dgm:prSet>
      <dgm:spPr>
        <a:prstGeom prst="rect">
          <a:avLst/>
        </a:prstGeom>
      </dgm:spPr>
      <dgm:t>
        <a:bodyPr/>
        <a:lstStyle/>
        <a:p>
          <a:endParaRPr lang="en-GB"/>
        </a:p>
      </dgm:t>
    </dgm:pt>
    <dgm:pt modelId="{9F604B41-DE7E-407E-92F7-E7B8863509DE}" type="pres">
      <dgm:prSet presAssocID="{9A7E722F-D005-476C-8D43-4076AB9F30B1}" presName="rootConnector" presStyleLbl="node3" presStyleIdx="0" presStyleCnt="26"/>
      <dgm:spPr/>
      <dgm:t>
        <a:bodyPr/>
        <a:lstStyle/>
        <a:p>
          <a:endParaRPr lang="en-GB"/>
        </a:p>
      </dgm:t>
    </dgm:pt>
    <dgm:pt modelId="{6B1B8A2D-6C96-402C-A168-3E6AD553B535}" type="pres">
      <dgm:prSet presAssocID="{9A7E722F-D005-476C-8D43-4076AB9F30B1}" presName="hierChild4" presStyleCnt="0"/>
      <dgm:spPr/>
    </dgm:pt>
    <dgm:pt modelId="{70FA8FA6-36C6-4FE0-B3C4-A8596AFC4EDF}" type="pres">
      <dgm:prSet presAssocID="{9A7E722F-D005-476C-8D43-4076AB9F30B1}" presName="hierChild5" presStyleCnt="0"/>
      <dgm:spPr/>
    </dgm:pt>
    <dgm:pt modelId="{7AA3C3BF-7366-4C82-8833-2DCCDBBFBA6C}" type="pres">
      <dgm:prSet presAssocID="{A4FDCB02-4C5E-4D69-833B-37E08536214A}" presName="Name50" presStyleLbl="parChTrans1D3" presStyleIdx="1" presStyleCnt="26"/>
      <dgm:spPr>
        <a:custGeom>
          <a:avLst/>
          <a:gdLst/>
          <a:ahLst/>
          <a:cxnLst/>
          <a:rect l="0" t="0" r="0" b="0"/>
          <a:pathLst>
            <a:path>
              <a:moveTo>
                <a:pt x="76437" y="0"/>
              </a:moveTo>
              <a:lnTo>
                <a:pt x="76437" y="797853"/>
              </a:lnTo>
              <a:lnTo>
                <a:pt x="45720" y="797853"/>
              </a:lnTo>
            </a:path>
          </a:pathLst>
        </a:custGeom>
      </dgm:spPr>
      <dgm:t>
        <a:bodyPr/>
        <a:lstStyle/>
        <a:p>
          <a:endParaRPr lang="en-GB"/>
        </a:p>
      </dgm:t>
    </dgm:pt>
    <dgm:pt modelId="{4DB7F4F7-B590-4810-AFCD-926FDA6D38D2}" type="pres">
      <dgm:prSet presAssocID="{A8A7589E-3DC7-45D1-8F72-BB5B052E3F69}" presName="hierRoot2" presStyleCnt="0">
        <dgm:presLayoutVars>
          <dgm:hierBranch val="init"/>
        </dgm:presLayoutVars>
      </dgm:prSet>
      <dgm:spPr/>
    </dgm:pt>
    <dgm:pt modelId="{F997AD31-44BF-407F-82C8-B18CE0D7FD2C}" type="pres">
      <dgm:prSet presAssocID="{A8A7589E-3DC7-45D1-8F72-BB5B052E3F69}" presName="rootComposite" presStyleCnt="0"/>
      <dgm:spPr/>
    </dgm:pt>
    <dgm:pt modelId="{CF73B623-D36E-4A4E-8B66-62BC3E50EC0C}" type="pres">
      <dgm:prSet presAssocID="{A8A7589E-3DC7-45D1-8F72-BB5B052E3F69}" presName="rootText" presStyleLbl="node3" presStyleIdx="1" presStyleCnt="26" custScaleX="206135" custLinFactNeighborX="9162" custLinFactNeighborY="-86839">
        <dgm:presLayoutVars>
          <dgm:chPref val="3"/>
        </dgm:presLayoutVars>
      </dgm:prSet>
      <dgm:spPr>
        <a:prstGeom prst="rect">
          <a:avLst/>
        </a:prstGeom>
      </dgm:spPr>
      <dgm:t>
        <a:bodyPr/>
        <a:lstStyle/>
        <a:p>
          <a:endParaRPr lang="en-GB"/>
        </a:p>
      </dgm:t>
    </dgm:pt>
    <dgm:pt modelId="{8796C872-A8EA-4958-8B94-1C7ED8D2C1E3}" type="pres">
      <dgm:prSet presAssocID="{A8A7589E-3DC7-45D1-8F72-BB5B052E3F69}" presName="rootConnector" presStyleLbl="node3" presStyleIdx="1" presStyleCnt="26"/>
      <dgm:spPr/>
      <dgm:t>
        <a:bodyPr/>
        <a:lstStyle/>
        <a:p>
          <a:endParaRPr lang="en-GB"/>
        </a:p>
      </dgm:t>
    </dgm:pt>
    <dgm:pt modelId="{8247ED97-294F-4CED-A2D7-172130BF8306}" type="pres">
      <dgm:prSet presAssocID="{A8A7589E-3DC7-45D1-8F72-BB5B052E3F69}" presName="hierChild4" presStyleCnt="0"/>
      <dgm:spPr/>
    </dgm:pt>
    <dgm:pt modelId="{BD0FFB1E-CC85-40D5-9579-426945FCD951}" type="pres">
      <dgm:prSet presAssocID="{A8A7589E-3DC7-45D1-8F72-BB5B052E3F69}" presName="hierChild5" presStyleCnt="0"/>
      <dgm:spPr/>
    </dgm:pt>
    <dgm:pt modelId="{64E373CE-42B0-47C0-B6D5-3083549CC155}" type="pres">
      <dgm:prSet presAssocID="{2536716E-9789-487C-BB4D-6AEC03913F78}" presName="Name50" presStyleLbl="parChTrans1D3" presStyleIdx="2" presStyleCnt="26"/>
      <dgm:spPr>
        <a:custGeom>
          <a:avLst/>
          <a:gdLst/>
          <a:ahLst/>
          <a:cxnLst/>
          <a:rect l="0" t="0" r="0" b="0"/>
          <a:pathLst>
            <a:path>
              <a:moveTo>
                <a:pt x="76437" y="0"/>
              </a:moveTo>
              <a:lnTo>
                <a:pt x="76437" y="1319991"/>
              </a:lnTo>
              <a:lnTo>
                <a:pt x="45720" y="1319991"/>
              </a:lnTo>
            </a:path>
          </a:pathLst>
        </a:custGeom>
      </dgm:spPr>
      <dgm:t>
        <a:bodyPr/>
        <a:lstStyle/>
        <a:p>
          <a:endParaRPr lang="en-GB"/>
        </a:p>
      </dgm:t>
    </dgm:pt>
    <dgm:pt modelId="{B2DE522B-C279-4F9A-8567-5E139FFF9E79}" type="pres">
      <dgm:prSet presAssocID="{8AFF9318-8DC2-4264-8170-0C61AAFD79FE}" presName="hierRoot2" presStyleCnt="0">
        <dgm:presLayoutVars>
          <dgm:hierBranch val="init"/>
        </dgm:presLayoutVars>
      </dgm:prSet>
      <dgm:spPr/>
    </dgm:pt>
    <dgm:pt modelId="{D9C66C32-12B4-4491-ABA3-34335757DC65}" type="pres">
      <dgm:prSet presAssocID="{8AFF9318-8DC2-4264-8170-0C61AAFD79FE}" presName="rootComposite" presStyleCnt="0"/>
      <dgm:spPr/>
    </dgm:pt>
    <dgm:pt modelId="{C91CBDDB-C61F-488B-86C6-4EEFDF3ED038}" type="pres">
      <dgm:prSet presAssocID="{8AFF9318-8DC2-4264-8170-0C61AAFD79FE}" presName="rootText" presStyleLbl="node3" presStyleIdx="2" presStyleCnt="26" custScaleX="206135" custLinFactY="-12992" custLinFactNeighborX="9162" custLinFactNeighborY="-100000">
        <dgm:presLayoutVars>
          <dgm:chPref val="3"/>
        </dgm:presLayoutVars>
      </dgm:prSet>
      <dgm:spPr>
        <a:prstGeom prst="rect">
          <a:avLst/>
        </a:prstGeom>
      </dgm:spPr>
      <dgm:t>
        <a:bodyPr/>
        <a:lstStyle/>
        <a:p>
          <a:endParaRPr lang="en-GB"/>
        </a:p>
      </dgm:t>
    </dgm:pt>
    <dgm:pt modelId="{525B76B5-0D3D-477C-878E-708A48609BDE}" type="pres">
      <dgm:prSet presAssocID="{8AFF9318-8DC2-4264-8170-0C61AAFD79FE}" presName="rootConnector" presStyleLbl="node3" presStyleIdx="2" presStyleCnt="26"/>
      <dgm:spPr/>
      <dgm:t>
        <a:bodyPr/>
        <a:lstStyle/>
        <a:p>
          <a:endParaRPr lang="en-GB"/>
        </a:p>
      </dgm:t>
    </dgm:pt>
    <dgm:pt modelId="{1D24CB5B-0B33-42B2-BE9D-B19A07219F23}" type="pres">
      <dgm:prSet presAssocID="{8AFF9318-8DC2-4264-8170-0C61AAFD79FE}" presName="hierChild4" presStyleCnt="0"/>
      <dgm:spPr/>
    </dgm:pt>
    <dgm:pt modelId="{DA442CD6-0426-4B98-A495-C55DA5A51AA4}" type="pres">
      <dgm:prSet presAssocID="{8AFF9318-8DC2-4264-8170-0C61AAFD79FE}" presName="hierChild5" presStyleCnt="0"/>
      <dgm:spPr/>
    </dgm:pt>
    <dgm:pt modelId="{074B3E2F-8466-4A4D-AA59-72F2C06F9895}" type="pres">
      <dgm:prSet presAssocID="{A8EDCBF5-48EE-49F5-8B6F-59FB4A586749}" presName="Name50" presStyleLbl="parChTrans1D3" presStyleIdx="3" presStyleCnt="26"/>
      <dgm:spPr>
        <a:custGeom>
          <a:avLst/>
          <a:gdLst/>
          <a:ahLst/>
          <a:cxnLst/>
          <a:rect l="0" t="0" r="0" b="0"/>
          <a:pathLst>
            <a:path>
              <a:moveTo>
                <a:pt x="76437" y="0"/>
              </a:moveTo>
              <a:lnTo>
                <a:pt x="76437" y="1842125"/>
              </a:lnTo>
              <a:lnTo>
                <a:pt x="45720" y="1842125"/>
              </a:lnTo>
            </a:path>
          </a:pathLst>
        </a:custGeom>
      </dgm:spPr>
      <dgm:t>
        <a:bodyPr/>
        <a:lstStyle/>
        <a:p>
          <a:endParaRPr lang="en-GB"/>
        </a:p>
      </dgm:t>
    </dgm:pt>
    <dgm:pt modelId="{DF2F653D-344D-4FB8-9BFE-4632037A3E7B}" type="pres">
      <dgm:prSet presAssocID="{1ABE179A-0583-4343-B229-7613337F1F01}" presName="hierRoot2" presStyleCnt="0">
        <dgm:presLayoutVars>
          <dgm:hierBranch val="init"/>
        </dgm:presLayoutVars>
      </dgm:prSet>
      <dgm:spPr/>
    </dgm:pt>
    <dgm:pt modelId="{3B7E9630-24E8-4128-BFD5-188170612569}" type="pres">
      <dgm:prSet presAssocID="{1ABE179A-0583-4343-B229-7613337F1F01}" presName="rootComposite" presStyleCnt="0"/>
      <dgm:spPr/>
    </dgm:pt>
    <dgm:pt modelId="{4F5D1301-39C3-4858-B8EF-E38A066270C0}" type="pres">
      <dgm:prSet presAssocID="{1ABE179A-0583-4343-B229-7613337F1F01}" presName="rootText" presStyleLbl="node3" presStyleIdx="3" presStyleCnt="26" custScaleX="206135" custLinFactY="-39146" custLinFactNeighborX="9162" custLinFactNeighborY="-100000">
        <dgm:presLayoutVars>
          <dgm:chPref val="3"/>
        </dgm:presLayoutVars>
      </dgm:prSet>
      <dgm:spPr>
        <a:prstGeom prst="rect">
          <a:avLst/>
        </a:prstGeom>
      </dgm:spPr>
      <dgm:t>
        <a:bodyPr/>
        <a:lstStyle/>
        <a:p>
          <a:endParaRPr lang="en-GB"/>
        </a:p>
      </dgm:t>
    </dgm:pt>
    <dgm:pt modelId="{12C49A15-D18B-47B3-9CA0-B40898F9CD50}" type="pres">
      <dgm:prSet presAssocID="{1ABE179A-0583-4343-B229-7613337F1F01}" presName="rootConnector" presStyleLbl="node3" presStyleIdx="3" presStyleCnt="26"/>
      <dgm:spPr/>
      <dgm:t>
        <a:bodyPr/>
        <a:lstStyle/>
        <a:p>
          <a:endParaRPr lang="en-GB"/>
        </a:p>
      </dgm:t>
    </dgm:pt>
    <dgm:pt modelId="{9C37565E-D11F-45BD-B816-20381F060AB1}" type="pres">
      <dgm:prSet presAssocID="{1ABE179A-0583-4343-B229-7613337F1F01}" presName="hierChild4" presStyleCnt="0"/>
      <dgm:spPr/>
    </dgm:pt>
    <dgm:pt modelId="{9C5018E2-8307-4E3E-9044-45319D51FA9F}" type="pres">
      <dgm:prSet presAssocID="{1ABE179A-0583-4343-B229-7613337F1F01}" presName="hierChild5" presStyleCnt="0"/>
      <dgm:spPr/>
    </dgm:pt>
    <dgm:pt modelId="{38F6A058-7E48-4D72-99DA-87A83BD6629F}" type="pres">
      <dgm:prSet presAssocID="{74CFB57A-27E6-492C-AA1E-444AA012A6C4}" presName="Name50" presStyleLbl="parChTrans1D3" presStyleIdx="4" presStyleCnt="26"/>
      <dgm:spPr>
        <a:custGeom>
          <a:avLst/>
          <a:gdLst/>
          <a:ahLst/>
          <a:cxnLst/>
          <a:rect l="0" t="0" r="0" b="0"/>
          <a:pathLst>
            <a:path>
              <a:moveTo>
                <a:pt x="76437" y="0"/>
              </a:moveTo>
              <a:lnTo>
                <a:pt x="76437" y="2515417"/>
              </a:lnTo>
              <a:lnTo>
                <a:pt x="45720" y="2515417"/>
              </a:lnTo>
            </a:path>
          </a:pathLst>
        </a:custGeom>
      </dgm:spPr>
      <dgm:t>
        <a:bodyPr/>
        <a:lstStyle/>
        <a:p>
          <a:endParaRPr lang="en-GB"/>
        </a:p>
      </dgm:t>
    </dgm:pt>
    <dgm:pt modelId="{D552FDEE-5469-4891-8FDB-8AD5896678B3}" type="pres">
      <dgm:prSet presAssocID="{B3CDC9F2-1FA6-4E0F-8439-B8268D9B8069}" presName="hierRoot2" presStyleCnt="0">
        <dgm:presLayoutVars>
          <dgm:hierBranch val="init"/>
        </dgm:presLayoutVars>
      </dgm:prSet>
      <dgm:spPr/>
    </dgm:pt>
    <dgm:pt modelId="{EF6AA7E8-3D3B-43C8-89E5-4F4F5DFCF6B9}" type="pres">
      <dgm:prSet presAssocID="{B3CDC9F2-1FA6-4E0F-8439-B8268D9B8069}" presName="rootComposite" presStyleCnt="0"/>
      <dgm:spPr/>
    </dgm:pt>
    <dgm:pt modelId="{F2BD23BC-2E0A-441B-BE28-E14725F51793}" type="pres">
      <dgm:prSet presAssocID="{B3CDC9F2-1FA6-4E0F-8439-B8268D9B8069}" presName="rootText" presStyleLbl="node3" presStyleIdx="4" presStyleCnt="26" custScaleX="206135" custScaleY="133975" custLinFactY="-48750" custLinFactNeighborX="9162" custLinFactNeighborY="-100000">
        <dgm:presLayoutVars>
          <dgm:chPref val="3"/>
        </dgm:presLayoutVars>
      </dgm:prSet>
      <dgm:spPr>
        <a:prstGeom prst="rect">
          <a:avLst/>
        </a:prstGeom>
      </dgm:spPr>
      <dgm:t>
        <a:bodyPr/>
        <a:lstStyle/>
        <a:p>
          <a:endParaRPr lang="en-GB"/>
        </a:p>
      </dgm:t>
    </dgm:pt>
    <dgm:pt modelId="{96311BE1-6806-4936-A91A-7E842B15BE23}" type="pres">
      <dgm:prSet presAssocID="{B3CDC9F2-1FA6-4E0F-8439-B8268D9B8069}" presName="rootConnector" presStyleLbl="node3" presStyleIdx="4" presStyleCnt="26"/>
      <dgm:spPr/>
      <dgm:t>
        <a:bodyPr/>
        <a:lstStyle/>
        <a:p>
          <a:endParaRPr lang="en-GB"/>
        </a:p>
      </dgm:t>
    </dgm:pt>
    <dgm:pt modelId="{EFD1A3F8-F679-4BFE-A96D-BBA1B8F7E28E}" type="pres">
      <dgm:prSet presAssocID="{B3CDC9F2-1FA6-4E0F-8439-B8268D9B8069}" presName="hierChild4" presStyleCnt="0"/>
      <dgm:spPr/>
    </dgm:pt>
    <dgm:pt modelId="{E1434C1B-93F4-4F85-BF3F-2674BA9F6695}" type="pres">
      <dgm:prSet presAssocID="{B3CDC9F2-1FA6-4E0F-8439-B8268D9B8069}" presName="hierChild5" presStyleCnt="0"/>
      <dgm:spPr/>
    </dgm:pt>
    <dgm:pt modelId="{BDA0D309-749C-449A-8DB4-EAF8CCA3E67D}" type="pres">
      <dgm:prSet presAssocID="{85EB6D14-3548-49D4-9B2D-95B6FE3E896E}" presName="Name50" presStyleLbl="parChTrans1D3" presStyleIdx="5" presStyleCnt="26"/>
      <dgm:spPr>
        <a:custGeom>
          <a:avLst/>
          <a:gdLst/>
          <a:ahLst/>
          <a:cxnLst/>
          <a:rect l="0" t="0" r="0" b="0"/>
          <a:pathLst>
            <a:path>
              <a:moveTo>
                <a:pt x="76437" y="0"/>
              </a:moveTo>
              <a:lnTo>
                <a:pt x="76437" y="3279485"/>
              </a:lnTo>
              <a:lnTo>
                <a:pt x="45720" y="3279485"/>
              </a:lnTo>
            </a:path>
          </a:pathLst>
        </a:custGeom>
      </dgm:spPr>
      <dgm:t>
        <a:bodyPr/>
        <a:lstStyle/>
        <a:p>
          <a:endParaRPr lang="en-GB"/>
        </a:p>
      </dgm:t>
    </dgm:pt>
    <dgm:pt modelId="{887C9540-28D2-46DA-9258-D87AD3C70C71}" type="pres">
      <dgm:prSet presAssocID="{55C81A84-977C-474F-9898-E3299C72446E}" presName="hierRoot2" presStyleCnt="0">
        <dgm:presLayoutVars>
          <dgm:hierBranch val="init"/>
        </dgm:presLayoutVars>
      </dgm:prSet>
      <dgm:spPr/>
    </dgm:pt>
    <dgm:pt modelId="{DB86626F-20CE-47FA-8B7A-1062024CD376}" type="pres">
      <dgm:prSet presAssocID="{55C81A84-977C-474F-9898-E3299C72446E}" presName="rootComposite" presStyleCnt="0"/>
      <dgm:spPr/>
    </dgm:pt>
    <dgm:pt modelId="{B0363488-F9A3-4DD4-BCDF-D8D2C1C53362}" type="pres">
      <dgm:prSet presAssocID="{55C81A84-977C-474F-9898-E3299C72446E}" presName="rootText" presStyleLbl="node3" presStyleIdx="5" presStyleCnt="26" custScaleX="206135" custScaleY="173379" custLinFactY="-74903" custLinFactNeighborX="9162" custLinFactNeighborY="-100000">
        <dgm:presLayoutVars>
          <dgm:chPref val="3"/>
        </dgm:presLayoutVars>
      </dgm:prSet>
      <dgm:spPr>
        <a:prstGeom prst="rect">
          <a:avLst/>
        </a:prstGeom>
      </dgm:spPr>
      <dgm:t>
        <a:bodyPr/>
        <a:lstStyle/>
        <a:p>
          <a:endParaRPr lang="en-GB"/>
        </a:p>
      </dgm:t>
    </dgm:pt>
    <dgm:pt modelId="{C5765A06-B728-4F1F-BEA5-C8B842B28AB3}" type="pres">
      <dgm:prSet presAssocID="{55C81A84-977C-474F-9898-E3299C72446E}" presName="rootConnector" presStyleLbl="node3" presStyleIdx="5" presStyleCnt="26"/>
      <dgm:spPr/>
      <dgm:t>
        <a:bodyPr/>
        <a:lstStyle/>
        <a:p>
          <a:endParaRPr lang="en-GB"/>
        </a:p>
      </dgm:t>
    </dgm:pt>
    <dgm:pt modelId="{B419F9A7-6256-4C2F-878E-B82AE2CBC9A9}" type="pres">
      <dgm:prSet presAssocID="{55C81A84-977C-474F-9898-E3299C72446E}" presName="hierChild4" presStyleCnt="0"/>
      <dgm:spPr/>
    </dgm:pt>
    <dgm:pt modelId="{141235EF-2547-4156-9A49-E8377A75F5CA}" type="pres">
      <dgm:prSet presAssocID="{55C81A84-977C-474F-9898-E3299C72446E}" presName="hierChild5" presStyleCnt="0"/>
      <dgm:spPr/>
    </dgm:pt>
    <dgm:pt modelId="{110B8CA0-C5B1-4088-832E-968B3904855E}" type="pres">
      <dgm:prSet presAssocID="{27C0C58C-3A95-4427-952F-34ADD3E4CA9C}" presName="hierChild5" presStyleCnt="0"/>
      <dgm:spPr/>
    </dgm:pt>
    <dgm:pt modelId="{A158FBDA-FE80-481D-A683-1087A6297DF7}" type="pres">
      <dgm:prSet presAssocID="{5BCFE927-CDC4-4421-909F-E280F719A3A5}" presName="Name37" presStyleLbl="parChTrans1D2" presStyleIdx="1" presStyleCnt="5"/>
      <dgm:spPr>
        <a:custGeom>
          <a:avLst/>
          <a:gdLst/>
          <a:ahLst/>
          <a:cxnLst/>
          <a:rect l="0" t="0" r="0" b="0"/>
          <a:pathLst>
            <a:path>
              <a:moveTo>
                <a:pt x="1695035" y="45720"/>
              </a:moveTo>
              <a:lnTo>
                <a:pt x="0" y="45720"/>
              </a:lnTo>
              <a:lnTo>
                <a:pt x="0" y="110345"/>
              </a:lnTo>
            </a:path>
          </a:pathLst>
        </a:custGeom>
      </dgm:spPr>
      <dgm:t>
        <a:bodyPr/>
        <a:lstStyle/>
        <a:p>
          <a:endParaRPr lang="en-GB"/>
        </a:p>
      </dgm:t>
    </dgm:pt>
    <dgm:pt modelId="{7B7F4A61-44AD-4660-A004-E01D74CB3993}" type="pres">
      <dgm:prSet presAssocID="{83E65023-33D0-46DA-A1B3-7F0C7C8C046D}" presName="hierRoot2" presStyleCnt="0">
        <dgm:presLayoutVars>
          <dgm:hierBranch val="l"/>
        </dgm:presLayoutVars>
      </dgm:prSet>
      <dgm:spPr/>
    </dgm:pt>
    <dgm:pt modelId="{C1C1659C-40C8-4D06-88CD-8B4E382A7FA3}" type="pres">
      <dgm:prSet presAssocID="{83E65023-33D0-46DA-A1B3-7F0C7C8C046D}" presName="rootComposite" presStyleCnt="0"/>
      <dgm:spPr/>
    </dgm:pt>
    <dgm:pt modelId="{7D987F92-7D35-4143-98F0-7F550C1854D0}" type="pres">
      <dgm:prSet presAssocID="{83E65023-33D0-46DA-A1B3-7F0C7C8C046D}" presName="rootText" presStyleLbl="node2" presStyleIdx="1" presStyleCnt="5" custScaleX="243614" custScaleY="114736" custLinFactNeighborX="-9853" custLinFactNeighborY="-30086">
        <dgm:presLayoutVars>
          <dgm:chPref val="3"/>
        </dgm:presLayoutVars>
      </dgm:prSet>
      <dgm:spPr>
        <a:prstGeom prst="rect">
          <a:avLst/>
        </a:prstGeom>
      </dgm:spPr>
      <dgm:t>
        <a:bodyPr/>
        <a:lstStyle/>
        <a:p>
          <a:endParaRPr lang="en-GB"/>
        </a:p>
      </dgm:t>
    </dgm:pt>
    <dgm:pt modelId="{00704EBE-B448-41C3-9648-6FB2DE06439D}" type="pres">
      <dgm:prSet presAssocID="{83E65023-33D0-46DA-A1B3-7F0C7C8C046D}" presName="rootConnector" presStyleLbl="node2" presStyleIdx="1" presStyleCnt="5"/>
      <dgm:spPr/>
      <dgm:t>
        <a:bodyPr/>
        <a:lstStyle/>
        <a:p>
          <a:endParaRPr lang="en-GB"/>
        </a:p>
      </dgm:t>
    </dgm:pt>
    <dgm:pt modelId="{7EE343C9-968E-4784-8601-4A7959215DD1}" type="pres">
      <dgm:prSet presAssocID="{83E65023-33D0-46DA-A1B3-7F0C7C8C046D}" presName="hierChild4" presStyleCnt="0"/>
      <dgm:spPr/>
    </dgm:pt>
    <dgm:pt modelId="{3B68F40B-CA34-4933-9B66-DF0F8E5E033E}" type="pres">
      <dgm:prSet presAssocID="{58994A76-1B27-43DF-B02F-100B15B3B104}" presName="Name50" presStyleLbl="parChTrans1D3" presStyleIdx="6" presStyleCnt="26"/>
      <dgm:spPr>
        <a:custGeom>
          <a:avLst/>
          <a:gdLst/>
          <a:ahLst/>
          <a:cxnLst/>
          <a:rect l="0" t="0" r="0" b="0"/>
          <a:pathLst>
            <a:path>
              <a:moveTo>
                <a:pt x="45720" y="0"/>
              </a:moveTo>
              <a:lnTo>
                <a:pt x="89889" y="278315"/>
              </a:lnTo>
            </a:path>
          </a:pathLst>
        </a:custGeom>
      </dgm:spPr>
      <dgm:t>
        <a:bodyPr/>
        <a:lstStyle/>
        <a:p>
          <a:endParaRPr lang="en-GB"/>
        </a:p>
      </dgm:t>
    </dgm:pt>
    <dgm:pt modelId="{F7CE9413-E7B2-4296-AD69-7C35B0B15EF1}" type="pres">
      <dgm:prSet presAssocID="{4D9ED46B-69D1-47A5-8587-425F875E60C9}" presName="hierRoot2" presStyleCnt="0">
        <dgm:presLayoutVars>
          <dgm:hierBranch val="init"/>
        </dgm:presLayoutVars>
      </dgm:prSet>
      <dgm:spPr/>
    </dgm:pt>
    <dgm:pt modelId="{F201A93C-E34C-4B21-9EB3-E70F0FDE64EC}" type="pres">
      <dgm:prSet presAssocID="{4D9ED46B-69D1-47A5-8587-425F875E60C9}" presName="rootComposite" presStyleCnt="0"/>
      <dgm:spPr/>
    </dgm:pt>
    <dgm:pt modelId="{7DE978DE-FDD4-4585-A148-67512926481F}" type="pres">
      <dgm:prSet presAssocID="{4D9ED46B-69D1-47A5-8587-425F875E60C9}" presName="rootText" presStyleLbl="node3" presStyleIdx="6" presStyleCnt="26" custScaleX="216984" custLinFactNeighborX="31589" custLinFactNeighborY="-60336">
        <dgm:presLayoutVars>
          <dgm:chPref val="3"/>
        </dgm:presLayoutVars>
      </dgm:prSet>
      <dgm:spPr>
        <a:prstGeom prst="rect">
          <a:avLst/>
        </a:prstGeom>
      </dgm:spPr>
      <dgm:t>
        <a:bodyPr/>
        <a:lstStyle/>
        <a:p>
          <a:endParaRPr lang="en-GB"/>
        </a:p>
      </dgm:t>
    </dgm:pt>
    <dgm:pt modelId="{F65783CD-FCF3-4364-BDAE-C6B8F35DE4E5}" type="pres">
      <dgm:prSet presAssocID="{4D9ED46B-69D1-47A5-8587-425F875E60C9}" presName="rootConnector" presStyleLbl="node3" presStyleIdx="6" presStyleCnt="26"/>
      <dgm:spPr/>
      <dgm:t>
        <a:bodyPr/>
        <a:lstStyle/>
        <a:p>
          <a:endParaRPr lang="en-GB"/>
        </a:p>
      </dgm:t>
    </dgm:pt>
    <dgm:pt modelId="{19E12958-8C47-47DF-9D4B-00202CA3AC00}" type="pres">
      <dgm:prSet presAssocID="{4D9ED46B-69D1-47A5-8587-425F875E60C9}" presName="hierChild4" presStyleCnt="0"/>
      <dgm:spPr/>
    </dgm:pt>
    <dgm:pt modelId="{2FB37C22-08BF-421C-BB25-91D5B4FB4B03}" type="pres">
      <dgm:prSet presAssocID="{4D9ED46B-69D1-47A5-8587-425F875E60C9}" presName="hierChild5" presStyleCnt="0"/>
      <dgm:spPr/>
    </dgm:pt>
    <dgm:pt modelId="{8126E7ED-1EFB-4DC7-B93C-A509EDCFECC6}" type="pres">
      <dgm:prSet presAssocID="{1AEE5C21-8809-4BD3-BF4B-96F643A6442C}" presName="Name50" presStyleLbl="parChTrans1D3" presStyleIdx="7" presStyleCnt="26"/>
      <dgm:spPr>
        <a:custGeom>
          <a:avLst/>
          <a:gdLst/>
          <a:ahLst/>
          <a:cxnLst/>
          <a:rect l="0" t="0" r="0" b="0"/>
          <a:pathLst>
            <a:path>
              <a:moveTo>
                <a:pt x="45720" y="0"/>
              </a:moveTo>
              <a:lnTo>
                <a:pt x="89889" y="776250"/>
              </a:lnTo>
            </a:path>
          </a:pathLst>
        </a:custGeom>
      </dgm:spPr>
      <dgm:t>
        <a:bodyPr/>
        <a:lstStyle/>
        <a:p>
          <a:endParaRPr lang="en-GB"/>
        </a:p>
      </dgm:t>
    </dgm:pt>
    <dgm:pt modelId="{879F3A0E-9DF5-4202-BCBA-30E3FCFD090D}" type="pres">
      <dgm:prSet presAssocID="{232AA91C-A830-4893-AB0C-E0B807EEE6B2}" presName="hierRoot2" presStyleCnt="0">
        <dgm:presLayoutVars>
          <dgm:hierBranch val="init"/>
        </dgm:presLayoutVars>
      </dgm:prSet>
      <dgm:spPr/>
    </dgm:pt>
    <dgm:pt modelId="{C7E92987-2404-49FE-AA7F-AA7B9DEEA283}" type="pres">
      <dgm:prSet presAssocID="{232AA91C-A830-4893-AB0C-E0B807EEE6B2}" presName="rootComposite" presStyleCnt="0"/>
      <dgm:spPr/>
    </dgm:pt>
    <dgm:pt modelId="{95060CD5-E72B-43E3-AE00-28ED9DE85B01}" type="pres">
      <dgm:prSet presAssocID="{232AA91C-A830-4893-AB0C-E0B807EEE6B2}" presName="rootText" presStyleLbl="node3" presStyleIdx="7" presStyleCnt="26" custScaleX="216984" custLinFactNeighborX="31589" custLinFactNeighborY="-91859">
        <dgm:presLayoutVars>
          <dgm:chPref val="3"/>
        </dgm:presLayoutVars>
      </dgm:prSet>
      <dgm:spPr>
        <a:prstGeom prst="rect">
          <a:avLst/>
        </a:prstGeom>
      </dgm:spPr>
      <dgm:t>
        <a:bodyPr/>
        <a:lstStyle/>
        <a:p>
          <a:endParaRPr lang="en-GB"/>
        </a:p>
      </dgm:t>
    </dgm:pt>
    <dgm:pt modelId="{5A19E98F-0F3A-4E09-AB65-E5F1DA066601}" type="pres">
      <dgm:prSet presAssocID="{232AA91C-A830-4893-AB0C-E0B807EEE6B2}" presName="rootConnector" presStyleLbl="node3" presStyleIdx="7" presStyleCnt="26"/>
      <dgm:spPr/>
      <dgm:t>
        <a:bodyPr/>
        <a:lstStyle/>
        <a:p>
          <a:endParaRPr lang="en-GB"/>
        </a:p>
      </dgm:t>
    </dgm:pt>
    <dgm:pt modelId="{17E28009-57BA-4F44-B413-B50AF86DD419}" type="pres">
      <dgm:prSet presAssocID="{232AA91C-A830-4893-AB0C-E0B807EEE6B2}" presName="hierChild4" presStyleCnt="0"/>
      <dgm:spPr/>
    </dgm:pt>
    <dgm:pt modelId="{6D691161-BE38-4537-8B7B-09BD6D376C0F}" type="pres">
      <dgm:prSet presAssocID="{232AA91C-A830-4893-AB0C-E0B807EEE6B2}" presName="hierChild5" presStyleCnt="0"/>
      <dgm:spPr/>
    </dgm:pt>
    <dgm:pt modelId="{D20E2316-F1C9-4B58-809C-37D7B49498A8}" type="pres">
      <dgm:prSet presAssocID="{39A6586C-73CD-4D64-A1FA-DFF0D99B7D4E}" presName="Name50" presStyleLbl="parChTrans1D3" presStyleIdx="8" presStyleCnt="26"/>
      <dgm:spPr>
        <a:custGeom>
          <a:avLst/>
          <a:gdLst/>
          <a:ahLst/>
          <a:cxnLst/>
          <a:rect l="0" t="0" r="0" b="0"/>
          <a:pathLst>
            <a:path>
              <a:moveTo>
                <a:pt x="45720" y="0"/>
              </a:moveTo>
              <a:lnTo>
                <a:pt x="89889" y="1306997"/>
              </a:lnTo>
            </a:path>
          </a:pathLst>
        </a:custGeom>
      </dgm:spPr>
      <dgm:t>
        <a:bodyPr/>
        <a:lstStyle/>
        <a:p>
          <a:endParaRPr lang="en-GB"/>
        </a:p>
      </dgm:t>
    </dgm:pt>
    <dgm:pt modelId="{FC97199B-5D92-4071-9C5C-7DDAEDABF62E}" type="pres">
      <dgm:prSet presAssocID="{70510394-ADAF-4017-9A71-0CDBF70C8053}" presName="hierRoot2" presStyleCnt="0">
        <dgm:presLayoutVars>
          <dgm:hierBranch val="init"/>
        </dgm:presLayoutVars>
      </dgm:prSet>
      <dgm:spPr/>
    </dgm:pt>
    <dgm:pt modelId="{C27AE854-62A4-43C0-B47B-0A4521318F22}" type="pres">
      <dgm:prSet presAssocID="{70510394-ADAF-4017-9A71-0CDBF70C8053}" presName="rootComposite" presStyleCnt="0"/>
      <dgm:spPr/>
    </dgm:pt>
    <dgm:pt modelId="{175ADE88-AD71-4BAF-A40D-557E80A72AF6}" type="pres">
      <dgm:prSet presAssocID="{70510394-ADAF-4017-9A71-0CDBF70C8053}" presName="rootText" presStyleLbl="node3" presStyleIdx="8" presStyleCnt="26" custScaleX="216984" custLinFactY="-16102" custLinFactNeighborX="31589" custLinFactNeighborY="-100000">
        <dgm:presLayoutVars>
          <dgm:chPref val="3"/>
        </dgm:presLayoutVars>
      </dgm:prSet>
      <dgm:spPr>
        <a:prstGeom prst="rect">
          <a:avLst/>
        </a:prstGeom>
      </dgm:spPr>
      <dgm:t>
        <a:bodyPr/>
        <a:lstStyle/>
        <a:p>
          <a:endParaRPr lang="en-GB"/>
        </a:p>
      </dgm:t>
    </dgm:pt>
    <dgm:pt modelId="{1FF9E9F1-4FED-413C-B9FB-C759F942D31F}" type="pres">
      <dgm:prSet presAssocID="{70510394-ADAF-4017-9A71-0CDBF70C8053}" presName="rootConnector" presStyleLbl="node3" presStyleIdx="8" presStyleCnt="26"/>
      <dgm:spPr/>
      <dgm:t>
        <a:bodyPr/>
        <a:lstStyle/>
        <a:p>
          <a:endParaRPr lang="en-GB"/>
        </a:p>
      </dgm:t>
    </dgm:pt>
    <dgm:pt modelId="{DC1C3B73-61A4-43AA-B6BF-592C31ECA3AF}" type="pres">
      <dgm:prSet presAssocID="{70510394-ADAF-4017-9A71-0CDBF70C8053}" presName="hierChild4" presStyleCnt="0"/>
      <dgm:spPr/>
    </dgm:pt>
    <dgm:pt modelId="{2F56F056-C10F-42B0-BF5E-CED793AD7759}" type="pres">
      <dgm:prSet presAssocID="{70510394-ADAF-4017-9A71-0CDBF70C8053}" presName="hierChild5" presStyleCnt="0"/>
      <dgm:spPr/>
    </dgm:pt>
    <dgm:pt modelId="{3C19CDE8-1619-435F-BE8B-2AB153E85879}" type="pres">
      <dgm:prSet presAssocID="{CCCD879D-0878-4276-BBBF-ED7DC058AD7B}" presName="Name50" presStyleLbl="parChTrans1D3" presStyleIdx="9" presStyleCnt="26"/>
      <dgm:spPr>
        <a:custGeom>
          <a:avLst/>
          <a:gdLst/>
          <a:ahLst/>
          <a:cxnLst/>
          <a:rect l="0" t="0" r="0" b="0"/>
          <a:pathLst>
            <a:path>
              <a:moveTo>
                <a:pt x="45720" y="0"/>
              </a:moveTo>
              <a:lnTo>
                <a:pt x="90402" y="1838988"/>
              </a:lnTo>
            </a:path>
          </a:pathLst>
        </a:custGeom>
      </dgm:spPr>
      <dgm:t>
        <a:bodyPr/>
        <a:lstStyle/>
        <a:p>
          <a:endParaRPr lang="en-GB"/>
        </a:p>
      </dgm:t>
    </dgm:pt>
    <dgm:pt modelId="{9360F5D3-E8C2-4C55-9A2E-A0CE2572DDDC}" type="pres">
      <dgm:prSet presAssocID="{DCA969C6-173D-4A46-9BA4-5119AF64DB64}" presName="hierRoot2" presStyleCnt="0">
        <dgm:presLayoutVars>
          <dgm:hierBranch val="init"/>
        </dgm:presLayoutVars>
      </dgm:prSet>
      <dgm:spPr/>
    </dgm:pt>
    <dgm:pt modelId="{607D9AFC-CE42-42A1-9EB1-36930BE02CD5}" type="pres">
      <dgm:prSet presAssocID="{DCA969C6-173D-4A46-9BA4-5119AF64DB64}" presName="rootComposite" presStyleCnt="0"/>
      <dgm:spPr/>
    </dgm:pt>
    <dgm:pt modelId="{356B3328-D764-40AC-8224-7C581170E4AA}" type="pres">
      <dgm:prSet presAssocID="{DCA969C6-173D-4A46-9BA4-5119AF64DB64}" presName="rootText" presStyleLbl="node3" presStyleIdx="9" presStyleCnt="26" custScaleX="216984" custLinFactY="-40069" custLinFactNeighborX="31646" custLinFactNeighborY="-100000">
        <dgm:presLayoutVars>
          <dgm:chPref val="3"/>
        </dgm:presLayoutVars>
      </dgm:prSet>
      <dgm:spPr>
        <a:prstGeom prst="rect">
          <a:avLst/>
        </a:prstGeom>
      </dgm:spPr>
      <dgm:t>
        <a:bodyPr/>
        <a:lstStyle/>
        <a:p>
          <a:endParaRPr lang="en-GB"/>
        </a:p>
      </dgm:t>
    </dgm:pt>
    <dgm:pt modelId="{E93C2A34-A97C-4508-A88F-51D5DA31D8C2}" type="pres">
      <dgm:prSet presAssocID="{DCA969C6-173D-4A46-9BA4-5119AF64DB64}" presName="rootConnector" presStyleLbl="node3" presStyleIdx="9" presStyleCnt="26"/>
      <dgm:spPr/>
      <dgm:t>
        <a:bodyPr/>
        <a:lstStyle/>
        <a:p>
          <a:endParaRPr lang="en-GB"/>
        </a:p>
      </dgm:t>
    </dgm:pt>
    <dgm:pt modelId="{7BA60B2C-7189-41FF-BFB8-C7874E6AC2DB}" type="pres">
      <dgm:prSet presAssocID="{DCA969C6-173D-4A46-9BA4-5119AF64DB64}" presName="hierChild4" presStyleCnt="0"/>
      <dgm:spPr/>
    </dgm:pt>
    <dgm:pt modelId="{27D8EEAD-18A0-4425-A8E3-D7D26180ED33}" type="pres">
      <dgm:prSet presAssocID="{DCA969C6-173D-4A46-9BA4-5119AF64DB64}" presName="hierChild5" presStyleCnt="0"/>
      <dgm:spPr/>
    </dgm:pt>
    <dgm:pt modelId="{BA812832-9151-4475-AEEE-997AAEA180DD}" type="pres">
      <dgm:prSet presAssocID="{60A8C610-33C6-4C13-A76B-645F44A3B723}" presName="Name50" presStyleLbl="parChTrans1D3" presStyleIdx="10" presStyleCnt="26"/>
      <dgm:spPr>
        <a:custGeom>
          <a:avLst/>
          <a:gdLst/>
          <a:ahLst/>
          <a:cxnLst/>
          <a:rect l="0" t="0" r="0" b="0"/>
          <a:pathLst>
            <a:path>
              <a:moveTo>
                <a:pt x="45720" y="0"/>
              </a:moveTo>
              <a:lnTo>
                <a:pt x="90402" y="2366643"/>
              </a:lnTo>
            </a:path>
          </a:pathLst>
        </a:custGeom>
      </dgm:spPr>
      <dgm:t>
        <a:bodyPr/>
        <a:lstStyle/>
        <a:p>
          <a:endParaRPr lang="en-GB"/>
        </a:p>
      </dgm:t>
    </dgm:pt>
    <dgm:pt modelId="{E9DD63BF-38AB-44F1-B73B-18EC62469DAE}" type="pres">
      <dgm:prSet presAssocID="{4CC3869D-EA05-4F15-ABEF-E876B4DF3A97}" presName="hierRoot2" presStyleCnt="0">
        <dgm:presLayoutVars>
          <dgm:hierBranch val="init"/>
        </dgm:presLayoutVars>
      </dgm:prSet>
      <dgm:spPr/>
    </dgm:pt>
    <dgm:pt modelId="{605226FA-7527-47A1-8279-238BCC889804}" type="pres">
      <dgm:prSet presAssocID="{4CC3869D-EA05-4F15-ABEF-E876B4DF3A97}" presName="rootComposite" presStyleCnt="0"/>
      <dgm:spPr/>
    </dgm:pt>
    <dgm:pt modelId="{0E5ADF65-7528-4E6B-A814-7FD4CDCBAEB0}" type="pres">
      <dgm:prSet presAssocID="{4CC3869D-EA05-4F15-ABEF-E876B4DF3A97}" presName="rootText" presStyleLbl="node3" presStyleIdx="10" presStyleCnt="26" custScaleX="216984" custLinFactY="-64998" custLinFactNeighborX="31646" custLinFactNeighborY="-100000">
        <dgm:presLayoutVars>
          <dgm:chPref val="3"/>
        </dgm:presLayoutVars>
      </dgm:prSet>
      <dgm:spPr>
        <a:prstGeom prst="rect">
          <a:avLst/>
        </a:prstGeom>
      </dgm:spPr>
      <dgm:t>
        <a:bodyPr/>
        <a:lstStyle/>
        <a:p>
          <a:endParaRPr lang="en-GB"/>
        </a:p>
      </dgm:t>
    </dgm:pt>
    <dgm:pt modelId="{C08C8186-7CE9-48AE-B41B-D881FD3C4D87}" type="pres">
      <dgm:prSet presAssocID="{4CC3869D-EA05-4F15-ABEF-E876B4DF3A97}" presName="rootConnector" presStyleLbl="node3" presStyleIdx="10" presStyleCnt="26"/>
      <dgm:spPr/>
      <dgm:t>
        <a:bodyPr/>
        <a:lstStyle/>
        <a:p>
          <a:endParaRPr lang="en-GB"/>
        </a:p>
      </dgm:t>
    </dgm:pt>
    <dgm:pt modelId="{E6017F6A-7607-44AA-9473-D5CDBDEDB0C7}" type="pres">
      <dgm:prSet presAssocID="{4CC3869D-EA05-4F15-ABEF-E876B4DF3A97}" presName="hierChild4" presStyleCnt="0"/>
      <dgm:spPr/>
    </dgm:pt>
    <dgm:pt modelId="{306A7944-FDCE-4D0C-AD95-EC9B74B2C481}" type="pres">
      <dgm:prSet presAssocID="{4CC3869D-EA05-4F15-ABEF-E876B4DF3A97}" presName="hierChild5" presStyleCnt="0"/>
      <dgm:spPr/>
    </dgm:pt>
    <dgm:pt modelId="{15BFC48D-BBC2-4AA7-84DF-E08D387E4BEE}" type="pres">
      <dgm:prSet presAssocID="{B9768B53-8850-4D94-B15A-B424BE92EB7A}" presName="Name50" presStyleLbl="parChTrans1D3" presStyleIdx="11" presStyleCnt="26"/>
      <dgm:spPr>
        <a:custGeom>
          <a:avLst/>
          <a:gdLst/>
          <a:ahLst/>
          <a:cxnLst/>
          <a:rect l="0" t="0" r="0" b="0"/>
          <a:pathLst>
            <a:path>
              <a:moveTo>
                <a:pt x="45720" y="0"/>
              </a:moveTo>
              <a:lnTo>
                <a:pt x="90402" y="2894294"/>
              </a:lnTo>
            </a:path>
          </a:pathLst>
        </a:custGeom>
      </dgm:spPr>
      <dgm:t>
        <a:bodyPr/>
        <a:lstStyle/>
        <a:p>
          <a:endParaRPr lang="en-GB"/>
        </a:p>
      </dgm:t>
    </dgm:pt>
    <dgm:pt modelId="{F23DC6A7-5F16-4E38-86B1-CAA6CCFFD663}" type="pres">
      <dgm:prSet presAssocID="{4A273B54-5675-4A36-BC30-269F184B394E}" presName="hierRoot2" presStyleCnt="0">
        <dgm:presLayoutVars>
          <dgm:hierBranch val="init"/>
        </dgm:presLayoutVars>
      </dgm:prSet>
      <dgm:spPr/>
    </dgm:pt>
    <dgm:pt modelId="{C7979B17-2652-45CB-BA3C-E7D7C2DAE869}" type="pres">
      <dgm:prSet presAssocID="{4A273B54-5675-4A36-BC30-269F184B394E}" presName="rootComposite" presStyleCnt="0"/>
      <dgm:spPr/>
    </dgm:pt>
    <dgm:pt modelId="{F0F62E1F-8929-43B7-BB6A-F1C6E74066B2}" type="pres">
      <dgm:prSet presAssocID="{4A273B54-5675-4A36-BC30-269F184B394E}" presName="rootText" presStyleLbl="node3" presStyleIdx="11" presStyleCnt="26" custScaleX="216984" custLinFactY="-89928" custLinFactNeighborX="31646" custLinFactNeighborY="-100000">
        <dgm:presLayoutVars>
          <dgm:chPref val="3"/>
        </dgm:presLayoutVars>
      </dgm:prSet>
      <dgm:spPr>
        <a:prstGeom prst="rect">
          <a:avLst/>
        </a:prstGeom>
      </dgm:spPr>
      <dgm:t>
        <a:bodyPr/>
        <a:lstStyle/>
        <a:p>
          <a:endParaRPr lang="en-GB"/>
        </a:p>
      </dgm:t>
    </dgm:pt>
    <dgm:pt modelId="{B2119018-1591-4A2B-916A-EAC928437B99}" type="pres">
      <dgm:prSet presAssocID="{4A273B54-5675-4A36-BC30-269F184B394E}" presName="rootConnector" presStyleLbl="node3" presStyleIdx="11" presStyleCnt="26"/>
      <dgm:spPr/>
      <dgm:t>
        <a:bodyPr/>
        <a:lstStyle/>
        <a:p>
          <a:endParaRPr lang="en-GB"/>
        </a:p>
      </dgm:t>
    </dgm:pt>
    <dgm:pt modelId="{986859C5-59D9-4CAA-95D8-8C726C6A14CD}" type="pres">
      <dgm:prSet presAssocID="{4A273B54-5675-4A36-BC30-269F184B394E}" presName="hierChild4" presStyleCnt="0"/>
      <dgm:spPr/>
    </dgm:pt>
    <dgm:pt modelId="{70C682E1-4958-4E6D-8D51-7120235B17E3}" type="pres">
      <dgm:prSet presAssocID="{4A273B54-5675-4A36-BC30-269F184B394E}" presName="hierChild5" presStyleCnt="0"/>
      <dgm:spPr/>
    </dgm:pt>
    <dgm:pt modelId="{D0A2B68C-81AE-484B-AA25-5AD1DD9964D7}" type="pres">
      <dgm:prSet presAssocID="{88907CE6-6462-4C5F-8943-6C7E5D76B19C}" presName="Name50" presStyleLbl="parChTrans1D3" presStyleIdx="12" presStyleCnt="26"/>
      <dgm:spPr>
        <a:custGeom>
          <a:avLst/>
          <a:gdLst/>
          <a:ahLst/>
          <a:cxnLst/>
          <a:rect l="0" t="0" r="0" b="0"/>
          <a:pathLst>
            <a:path>
              <a:moveTo>
                <a:pt x="45720" y="0"/>
              </a:moveTo>
              <a:lnTo>
                <a:pt x="126072" y="3417613"/>
              </a:lnTo>
            </a:path>
          </a:pathLst>
        </a:custGeom>
      </dgm:spPr>
      <dgm:t>
        <a:bodyPr/>
        <a:lstStyle/>
        <a:p>
          <a:endParaRPr lang="en-GB"/>
        </a:p>
      </dgm:t>
    </dgm:pt>
    <dgm:pt modelId="{BCDE0529-E1B6-4338-9B92-2E52C2823B7C}" type="pres">
      <dgm:prSet presAssocID="{1E3C57A8-D11A-4464-B252-393BA62CA1A4}" presName="hierRoot2" presStyleCnt="0">
        <dgm:presLayoutVars>
          <dgm:hierBranch val="init"/>
        </dgm:presLayoutVars>
      </dgm:prSet>
      <dgm:spPr/>
    </dgm:pt>
    <dgm:pt modelId="{C54585F7-6C6B-40B1-81E8-9C201F432ACA}" type="pres">
      <dgm:prSet presAssocID="{1E3C57A8-D11A-4464-B252-393BA62CA1A4}" presName="rootComposite" presStyleCnt="0"/>
      <dgm:spPr/>
    </dgm:pt>
    <dgm:pt modelId="{3AE77575-B618-4540-A5D3-713314C05524}" type="pres">
      <dgm:prSet presAssocID="{1E3C57A8-D11A-4464-B252-393BA62CA1A4}" presName="rootText" presStyleLbl="node3" presStyleIdx="12" presStyleCnt="26" custScaleX="216984" custLinFactY="-100000" custLinFactNeighborX="35603" custLinFactNeighborY="-115819">
        <dgm:presLayoutVars>
          <dgm:chPref val="3"/>
        </dgm:presLayoutVars>
      </dgm:prSet>
      <dgm:spPr>
        <a:prstGeom prst="rect">
          <a:avLst/>
        </a:prstGeom>
      </dgm:spPr>
      <dgm:t>
        <a:bodyPr/>
        <a:lstStyle/>
        <a:p>
          <a:endParaRPr lang="en-GB"/>
        </a:p>
      </dgm:t>
    </dgm:pt>
    <dgm:pt modelId="{0A7ECC2D-925A-4A5A-983B-44AA6F0DAF1D}" type="pres">
      <dgm:prSet presAssocID="{1E3C57A8-D11A-4464-B252-393BA62CA1A4}" presName="rootConnector" presStyleLbl="node3" presStyleIdx="12" presStyleCnt="26"/>
      <dgm:spPr/>
      <dgm:t>
        <a:bodyPr/>
        <a:lstStyle/>
        <a:p>
          <a:endParaRPr lang="en-GB"/>
        </a:p>
      </dgm:t>
    </dgm:pt>
    <dgm:pt modelId="{747F2C99-3DF1-4AC3-810F-11A9F9C64CC1}" type="pres">
      <dgm:prSet presAssocID="{1E3C57A8-D11A-4464-B252-393BA62CA1A4}" presName="hierChild4" presStyleCnt="0"/>
      <dgm:spPr/>
    </dgm:pt>
    <dgm:pt modelId="{D8DEE09F-9284-4300-A08E-19A45A7D509D}" type="pres">
      <dgm:prSet presAssocID="{1E3C57A8-D11A-4464-B252-393BA62CA1A4}" presName="hierChild5" presStyleCnt="0"/>
      <dgm:spPr/>
    </dgm:pt>
    <dgm:pt modelId="{2A2C7B99-30D3-4786-A061-FD5978DD9CE9}" type="pres">
      <dgm:prSet presAssocID="{83E65023-33D0-46DA-A1B3-7F0C7C8C046D}" presName="hierChild5" presStyleCnt="0"/>
      <dgm:spPr/>
    </dgm:pt>
    <dgm:pt modelId="{D0B2D542-C665-4A27-AB65-BE2D43E07D73}" type="pres">
      <dgm:prSet presAssocID="{3CFDB6E9-11D5-4EF0-A84F-588AF277B995}" presName="Name37" presStyleLbl="parChTrans1D2" presStyleIdx="2" presStyleCnt="5"/>
      <dgm:spPr>
        <a:custGeom>
          <a:avLst/>
          <a:gdLst/>
          <a:ahLst/>
          <a:cxnLst/>
          <a:rect l="0" t="0" r="0" b="0"/>
          <a:pathLst>
            <a:path>
              <a:moveTo>
                <a:pt x="0" y="45720"/>
              </a:moveTo>
              <a:lnTo>
                <a:pt x="711848" y="45720"/>
              </a:lnTo>
              <a:lnTo>
                <a:pt x="711848" y="110345"/>
              </a:lnTo>
            </a:path>
          </a:pathLst>
        </a:custGeom>
      </dgm:spPr>
      <dgm:t>
        <a:bodyPr/>
        <a:lstStyle/>
        <a:p>
          <a:endParaRPr lang="en-GB"/>
        </a:p>
      </dgm:t>
    </dgm:pt>
    <dgm:pt modelId="{D6D62EFD-97F2-4BA7-AB1A-C8F3824F81AD}" type="pres">
      <dgm:prSet presAssocID="{E9AADBDC-3898-4643-98BB-93A35F6F1C1F}" presName="hierRoot2" presStyleCnt="0">
        <dgm:presLayoutVars>
          <dgm:hierBranch val="init"/>
        </dgm:presLayoutVars>
      </dgm:prSet>
      <dgm:spPr/>
    </dgm:pt>
    <dgm:pt modelId="{A2F2327A-4FFD-42A9-BB8F-40200C5D7625}" type="pres">
      <dgm:prSet presAssocID="{E9AADBDC-3898-4643-98BB-93A35F6F1C1F}" presName="rootComposite" presStyleCnt="0"/>
      <dgm:spPr/>
    </dgm:pt>
    <dgm:pt modelId="{20A39BFD-AC94-4833-AAAF-948F81E52002}" type="pres">
      <dgm:prSet presAssocID="{E9AADBDC-3898-4643-98BB-93A35F6F1C1F}" presName="rootText" presStyleLbl="node2" presStyleIdx="2" presStyleCnt="5" custScaleX="243614" custScaleY="122385" custLinFactNeighborX="-7459" custLinFactNeighborY="-30086">
        <dgm:presLayoutVars>
          <dgm:chPref val="3"/>
        </dgm:presLayoutVars>
      </dgm:prSet>
      <dgm:spPr>
        <a:prstGeom prst="rect">
          <a:avLst/>
        </a:prstGeom>
      </dgm:spPr>
      <dgm:t>
        <a:bodyPr/>
        <a:lstStyle/>
        <a:p>
          <a:endParaRPr lang="en-GB"/>
        </a:p>
      </dgm:t>
    </dgm:pt>
    <dgm:pt modelId="{0A4B7152-A5C0-4304-B702-BC0C52C9EC39}" type="pres">
      <dgm:prSet presAssocID="{E9AADBDC-3898-4643-98BB-93A35F6F1C1F}" presName="rootConnector" presStyleLbl="node2" presStyleIdx="2" presStyleCnt="5"/>
      <dgm:spPr/>
      <dgm:t>
        <a:bodyPr/>
        <a:lstStyle/>
        <a:p>
          <a:endParaRPr lang="en-GB"/>
        </a:p>
      </dgm:t>
    </dgm:pt>
    <dgm:pt modelId="{6923F2DB-CFA1-43DA-B776-2F8B671228D5}" type="pres">
      <dgm:prSet presAssocID="{E9AADBDC-3898-4643-98BB-93A35F6F1C1F}" presName="hierChild4" presStyleCnt="0"/>
      <dgm:spPr/>
    </dgm:pt>
    <dgm:pt modelId="{9233F8A3-3DD8-405A-B709-2177E2199FEB}" type="pres">
      <dgm:prSet presAssocID="{3434C784-D2EB-4907-A577-1424C17A4231}" presName="Name37" presStyleLbl="parChTrans1D3" presStyleIdx="13" presStyleCnt="26"/>
      <dgm:spPr>
        <a:custGeom>
          <a:avLst/>
          <a:gdLst/>
          <a:ahLst/>
          <a:cxnLst/>
          <a:rect l="0" t="0" r="0" b="0"/>
          <a:pathLst>
            <a:path>
              <a:moveTo>
                <a:pt x="126225" y="0"/>
              </a:moveTo>
              <a:lnTo>
                <a:pt x="45720" y="427055"/>
              </a:lnTo>
            </a:path>
          </a:pathLst>
        </a:custGeom>
      </dgm:spPr>
      <dgm:t>
        <a:bodyPr/>
        <a:lstStyle/>
        <a:p>
          <a:endParaRPr lang="en-GB"/>
        </a:p>
      </dgm:t>
    </dgm:pt>
    <dgm:pt modelId="{0B51C77E-E536-48AA-9BF2-E5CB156A28CD}" type="pres">
      <dgm:prSet presAssocID="{25DBDE9B-DA2B-4E29-B989-575DA86021B8}" presName="hierRoot2" presStyleCnt="0">
        <dgm:presLayoutVars>
          <dgm:hierBranch val="init"/>
        </dgm:presLayoutVars>
      </dgm:prSet>
      <dgm:spPr/>
    </dgm:pt>
    <dgm:pt modelId="{AB22C40B-D3AF-4475-9672-4D9A2F57941C}" type="pres">
      <dgm:prSet presAssocID="{25DBDE9B-DA2B-4E29-B989-575DA86021B8}" presName="rootComposite" presStyleCnt="0"/>
      <dgm:spPr/>
    </dgm:pt>
    <dgm:pt modelId="{F0663EE5-7143-42B2-A6AE-F82AA7D88908}" type="pres">
      <dgm:prSet presAssocID="{25DBDE9B-DA2B-4E29-B989-575DA86021B8}" presName="rootText" presStyleLbl="node3" presStyleIdx="13" presStyleCnt="26" custScaleX="224874" custScaleY="149736" custLinFactNeighborX="-52932" custLinFactNeighborY="-52203">
        <dgm:presLayoutVars>
          <dgm:chPref val="3"/>
        </dgm:presLayoutVars>
      </dgm:prSet>
      <dgm:spPr>
        <a:prstGeom prst="rect">
          <a:avLst/>
        </a:prstGeom>
      </dgm:spPr>
      <dgm:t>
        <a:bodyPr/>
        <a:lstStyle/>
        <a:p>
          <a:endParaRPr lang="en-GB"/>
        </a:p>
      </dgm:t>
    </dgm:pt>
    <dgm:pt modelId="{AE4351CA-69DC-4BA0-AB6C-9CE1DF3BD1D6}" type="pres">
      <dgm:prSet presAssocID="{25DBDE9B-DA2B-4E29-B989-575DA86021B8}" presName="rootConnector" presStyleLbl="node3" presStyleIdx="13" presStyleCnt="26"/>
      <dgm:spPr/>
      <dgm:t>
        <a:bodyPr/>
        <a:lstStyle/>
        <a:p>
          <a:endParaRPr lang="en-GB"/>
        </a:p>
      </dgm:t>
    </dgm:pt>
    <dgm:pt modelId="{35179876-1C2A-4A17-9895-CFA1E81D445B}" type="pres">
      <dgm:prSet presAssocID="{25DBDE9B-DA2B-4E29-B989-575DA86021B8}" presName="hierChild4" presStyleCnt="0"/>
      <dgm:spPr/>
    </dgm:pt>
    <dgm:pt modelId="{E3DAD0CB-79FA-4AA7-979E-EFEEE2D28862}" type="pres">
      <dgm:prSet presAssocID="{25DBDE9B-DA2B-4E29-B989-575DA86021B8}" presName="hierChild5" presStyleCnt="0"/>
      <dgm:spPr/>
    </dgm:pt>
    <dgm:pt modelId="{4292BEEF-ED59-4044-B99B-DC4347476C93}" type="pres">
      <dgm:prSet presAssocID="{EB2D0AFA-7107-4A7F-B30A-85794C6D48A5}" presName="Name37" presStyleLbl="parChTrans1D3" presStyleIdx="14" presStyleCnt="26"/>
      <dgm:spPr>
        <a:custGeom>
          <a:avLst/>
          <a:gdLst/>
          <a:ahLst/>
          <a:cxnLst/>
          <a:rect l="0" t="0" r="0" b="0"/>
          <a:pathLst>
            <a:path>
              <a:moveTo>
                <a:pt x="109368" y="0"/>
              </a:moveTo>
              <a:lnTo>
                <a:pt x="45720" y="1192191"/>
              </a:lnTo>
            </a:path>
          </a:pathLst>
        </a:custGeom>
      </dgm:spPr>
      <dgm:t>
        <a:bodyPr/>
        <a:lstStyle/>
        <a:p>
          <a:endParaRPr lang="en-GB"/>
        </a:p>
      </dgm:t>
    </dgm:pt>
    <dgm:pt modelId="{EB1E0698-2238-417E-B4CC-925D422ADFD9}" type="pres">
      <dgm:prSet presAssocID="{36F930DE-36A9-4BBF-B0E6-9FDFEF9E53E4}" presName="hierRoot2" presStyleCnt="0">
        <dgm:presLayoutVars>
          <dgm:hierBranch val="init"/>
        </dgm:presLayoutVars>
      </dgm:prSet>
      <dgm:spPr/>
    </dgm:pt>
    <dgm:pt modelId="{D7895E98-490F-4AA4-8255-363F85B08485}" type="pres">
      <dgm:prSet presAssocID="{36F930DE-36A9-4BBF-B0E6-9FDFEF9E53E4}" presName="rootComposite" presStyleCnt="0"/>
      <dgm:spPr/>
    </dgm:pt>
    <dgm:pt modelId="{679AFEB9-1304-4C46-92B9-D14908334993}" type="pres">
      <dgm:prSet presAssocID="{36F930DE-36A9-4BBF-B0E6-9FDFEF9E53E4}" presName="rootText" presStyleLbl="node3" presStyleIdx="14" presStyleCnt="26" custScaleX="224874" custScaleY="141856" custLinFactNeighborX="-51062" custLinFactNeighborY="-70238">
        <dgm:presLayoutVars>
          <dgm:chPref val="3"/>
        </dgm:presLayoutVars>
      </dgm:prSet>
      <dgm:spPr>
        <a:prstGeom prst="rect">
          <a:avLst/>
        </a:prstGeom>
      </dgm:spPr>
      <dgm:t>
        <a:bodyPr/>
        <a:lstStyle/>
        <a:p>
          <a:endParaRPr lang="en-GB"/>
        </a:p>
      </dgm:t>
    </dgm:pt>
    <dgm:pt modelId="{AD7D63B9-7467-4870-AB99-425C675F3C72}" type="pres">
      <dgm:prSet presAssocID="{36F930DE-36A9-4BBF-B0E6-9FDFEF9E53E4}" presName="rootConnector" presStyleLbl="node3" presStyleIdx="14" presStyleCnt="26"/>
      <dgm:spPr/>
      <dgm:t>
        <a:bodyPr/>
        <a:lstStyle/>
        <a:p>
          <a:endParaRPr lang="en-GB"/>
        </a:p>
      </dgm:t>
    </dgm:pt>
    <dgm:pt modelId="{977126EB-F25D-4C49-B98B-B68E1BD0D4BB}" type="pres">
      <dgm:prSet presAssocID="{36F930DE-36A9-4BBF-B0E6-9FDFEF9E53E4}" presName="hierChild4" presStyleCnt="0"/>
      <dgm:spPr/>
    </dgm:pt>
    <dgm:pt modelId="{B2673B5A-D20B-433C-B67A-77654BAC3B88}" type="pres">
      <dgm:prSet presAssocID="{36F930DE-36A9-4BBF-B0E6-9FDFEF9E53E4}" presName="hierChild5" presStyleCnt="0"/>
      <dgm:spPr/>
    </dgm:pt>
    <dgm:pt modelId="{B023BEAD-FFE1-4FE2-87DF-FBE8E5BE29A9}" type="pres">
      <dgm:prSet presAssocID="{85F876EE-37BA-45E8-8766-D372D6B5A6B4}" presName="Name37" presStyleLbl="parChTrans1D3" presStyleIdx="15" presStyleCnt="26"/>
      <dgm:spPr>
        <a:custGeom>
          <a:avLst/>
          <a:gdLst/>
          <a:ahLst/>
          <a:cxnLst/>
          <a:rect l="0" t="0" r="0" b="0"/>
          <a:pathLst>
            <a:path>
              <a:moveTo>
                <a:pt x="117914" y="0"/>
              </a:moveTo>
              <a:lnTo>
                <a:pt x="45720" y="1903485"/>
              </a:lnTo>
            </a:path>
          </a:pathLst>
        </a:custGeom>
      </dgm:spPr>
      <dgm:t>
        <a:bodyPr/>
        <a:lstStyle/>
        <a:p>
          <a:endParaRPr lang="en-GB"/>
        </a:p>
      </dgm:t>
    </dgm:pt>
    <dgm:pt modelId="{5476372D-2150-433E-B2AE-6BA5A6E9F1A9}" type="pres">
      <dgm:prSet presAssocID="{F29A0D9E-A4D4-4086-BF87-078907F654D3}" presName="hierRoot2" presStyleCnt="0">
        <dgm:presLayoutVars>
          <dgm:hierBranch val="init"/>
        </dgm:presLayoutVars>
      </dgm:prSet>
      <dgm:spPr/>
    </dgm:pt>
    <dgm:pt modelId="{22333E98-19CF-433C-9D01-F001398BCC8F}" type="pres">
      <dgm:prSet presAssocID="{F29A0D9E-A4D4-4086-BF87-078907F654D3}" presName="rootComposite" presStyleCnt="0"/>
      <dgm:spPr/>
    </dgm:pt>
    <dgm:pt modelId="{F47BE956-BC37-4E68-8509-835266EF4509}" type="pres">
      <dgm:prSet presAssocID="{F29A0D9E-A4D4-4086-BF87-078907F654D3}" presName="rootText" presStyleLbl="node3" presStyleIdx="15" presStyleCnt="26" custScaleX="224874" custScaleY="142026" custLinFactNeighborX="-52010" custLinFactNeighborY="-96364">
        <dgm:presLayoutVars>
          <dgm:chPref val="3"/>
        </dgm:presLayoutVars>
      </dgm:prSet>
      <dgm:spPr>
        <a:prstGeom prst="rect">
          <a:avLst/>
        </a:prstGeom>
      </dgm:spPr>
      <dgm:t>
        <a:bodyPr/>
        <a:lstStyle/>
        <a:p>
          <a:endParaRPr lang="en-GB"/>
        </a:p>
      </dgm:t>
    </dgm:pt>
    <dgm:pt modelId="{0061E253-07A5-4060-9D9C-063107019FC0}" type="pres">
      <dgm:prSet presAssocID="{F29A0D9E-A4D4-4086-BF87-078907F654D3}" presName="rootConnector" presStyleLbl="node3" presStyleIdx="15" presStyleCnt="26"/>
      <dgm:spPr/>
      <dgm:t>
        <a:bodyPr/>
        <a:lstStyle/>
        <a:p>
          <a:endParaRPr lang="en-GB"/>
        </a:p>
      </dgm:t>
    </dgm:pt>
    <dgm:pt modelId="{6A6FBDEC-98AE-4464-802A-117EA88E3B82}" type="pres">
      <dgm:prSet presAssocID="{F29A0D9E-A4D4-4086-BF87-078907F654D3}" presName="hierChild4" presStyleCnt="0"/>
      <dgm:spPr/>
    </dgm:pt>
    <dgm:pt modelId="{EAFC9707-615E-4A38-811E-4449FC86631C}" type="pres">
      <dgm:prSet presAssocID="{F29A0D9E-A4D4-4086-BF87-078907F654D3}" presName="hierChild5" presStyleCnt="0"/>
      <dgm:spPr/>
    </dgm:pt>
    <dgm:pt modelId="{909A163B-528C-4467-82CA-CD38902FAE5A}" type="pres">
      <dgm:prSet presAssocID="{E9AADBDC-3898-4643-98BB-93A35F6F1C1F}" presName="hierChild5" presStyleCnt="0"/>
      <dgm:spPr/>
    </dgm:pt>
    <dgm:pt modelId="{D08577E6-9F61-4368-8C6C-6BFE825C8CCF}" type="pres">
      <dgm:prSet presAssocID="{205FFF2B-3A41-4A88-A3BE-31B22C2574A7}" presName="Name37" presStyleLbl="parChTrans1D2" presStyleIdx="3" presStyleCnt="5"/>
      <dgm:spPr>
        <a:custGeom>
          <a:avLst/>
          <a:gdLst/>
          <a:ahLst/>
          <a:cxnLst/>
          <a:rect l="0" t="0" r="0" b="0"/>
          <a:pathLst>
            <a:path>
              <a:moveTo>
                <a:pt x="0" y="45720"/>
              </a:moveTo>
              <a:lnTo>
                <a:pt x="3206332" y="45720"/>
              </a:lnTo>
              <a:lnTo>
                <a:pt x="3206332" y="111368"/>
              </a:lnTo>
            </a:path>
          </a:pathLst>
        </a:custGeom>
      </dgm:spPr>
      <dgm:t>
        <a:bodyPr/>
        <a:lstStyle/>
        <a:p>
          <a:endParaRPr lang="en-GB"/>
        </a:p>
      </dgm:t>
    </dgm:pt>
    <dgm:pt modelId="{83DAE4F7-D3DA-498F-A827-D7EA16288892}" type="pres">
      <dgm:prSet presAssocID="{B8408C07-B965-420B-AA4F-EF7BF3626137}" presName="hierRoot2" presStyleCnt="0">
        <dgm:presLayoutVars>
          <dgm:hierBranch val="init"/>
        </dgm:presLayoutVars>
      </dgm:prSet>
      <dgm:spPr/>
    </dgm:pt>
    <dgm:pt modelId="{BB502853-2436-4E23-A179-9E0EE716BF8C}" type="pres">
      <dgm:prSet presAssocID="{B8408C07-B965-420B-AA4F-EF7BF3626137}" presName="rootComposite" presStyleCnt="0"/>
      <dgm:spPr/>
    </dgm:pt>
    <dgm:pt modelId="{82EB6CB6-BC4E-4D4C-A10D-B3680BF7A7D2}" type="pres">
      <dgm:prSet presAssocID="{B8408C07-B965-420B-AA4F-EF7BF3626137}" presName="rootText" presStyleLbl="node2" presStyleIdx="3" presStyleCnt="5" custScaleX="243614" custScaleY="152981" custLinFactNeighborX="4653" custLinFactNeighborY="-29859">
        <dgm:presLayoutVars>
          <dgm:chPref val="3"/>
        </dgm:presLayoutVars>
      </dgm:prSet>
      <dgm:spPr>
        <a:prstGeom prst="rect">
          <a:avLst/>
        </a:prstGeom>
      </dgm:spPr>
      <dgm:t>
        <a:bodyPr/>
        <a:lstStyle/>
        <a:p>
          <a:endParaRPr lang="en-GB"/>
        </a:p>
      </dgm:t>
    </dgm:pt>
    <dgm:pt modelId="{3529AC6F-214E-4BA5-9ABF-2AAB4904DB2A}" type="pres">
      <dgm:prSet presAssocID="{B8408C07-B965-420B-AA4F-EF7BF3626137}" presName="rootConnector" presStyleLbl="node2" presStyleIdx="3" presStyleCnt="5"/>
      <dgm:spPr/>
      <dgm:t>
        <a:bodyPr/>
        <a:lstStyle/>
        <a:p>
          <a:endParaRPr lang="en-GB"/>
        </a:p>
      </dgm:t>
    </dgm:pt>
    <dgm:pt modelId="{680C4AC6-7203-4B1B-9601-B803D3048B23}" type="pres">
      <dgm:prSet presAssocID="{B8408C07-B965-420B-AA4F-EF7BF3626137}" presName="hierChild4" presStyleCnt="0"/>
      <dgm:spPr/>
    </dgm:pt>
    <dgm:pt modelId="{3DC3783D-00DF-4D73-BC7D-A41DFB3A67B6}" type="pres">
      <dgm:prSet presAssocID="{259B2E52-E7E2-4233-88B2-F72E854BF241}" presName="Name37" presStyleLbl="parChTrans1D3" presStyleIdx="16" presStyleCnt="26"/>
      <dgm:spPr>
        <a:custGeom>
          <a:avLst/>
          <a:gdLst/>
          <a:ahLst/>
          <a:cxnLst/>
          <a:rect l="0" t="0" r="0" b="0"/>
          <a:pathLst>
            <a:path>
              <a:moveTo>
                <a:pt x="148148" y="0"/>
              </a:moveTo>
              <a:lnTo>
                <a:pt x="0" y="377121"/>
              </a:lnTo>
            </a:path>
          </a:pathLst>
        </a:custGeom>
      </dgm:spPr>
      <dgm:t>
        <a:bodyPr/>
        <a:lstStyle/>
        <a:p>
          <a:endParaRPr lang="en-GB"/>
        </a:p>
      </dgm:t>
    </dgm:pt>
    <dgm:pt modelId="{60C8AFC8-C4AD-4B04-91D4-A5B5C090D367}" type="pres">
      <dgm:prSet presAssocID="{F4EA981A-F986-4877-BD25-5C14FE41D176}" presName="hierRoot2" presStyleCnt="0">
        <dgm:presLayoutVars>
          <dgm:hierBranch val="init"/>
        </dgm:presLayoutVars>
      </dgm:prSet>
      <dgm:spPr/>
    </dgm:pt>
    <dgm:pt modelId="{B486CE47-7DD5-48BF-8D75-E540029EE6CA}" type="pres">
      <dgm:prSet presAssocID="{F4EA981A-F986-4877-BD25-5C14FE41D176}" presName="rootComposite" presStyleCnt="0"/>
      <dgm:spPr/>
    </dgm:pt>
    <dgm:pt modelId="{0750D890-C529-4565-BAB3-D4A4004C9728}" type="pres">
      <dgm:prSet presAssocID="{F4EA981A-F986-4877-BD25-5C14FE41D176}" presName="rootText" presStyleLbl="node3" presStyleIdx="16" presStyleCnt="26" custScaleX="216984" custScaleY="126094" custLinFactNeighborX="-48324" custLinFactNeighborY="-51234">
        <dgm:presLayoutVars>
          <dgm:chPref val="3"/>
        </dgm:presLayoutVars>
      </dgm:prSet>
      <dgm:spPr>
        <a:prstGeom prst="rect">
          <a:avLst/>
        </a:prstGeom>
      </dgm:spPr>
      <dgm:t>
        <a:bodyPr/>
        <a:lstStyle/>
        <a:p>
          <a:endParaRPr lang="en-GB"/>
        </a:p>
      </dgm:t>
    </dgm:pt>
    <dgm:pt modelId="{53D8C03D-8A58-4E09-A501-D19238429C1F}" type="pres">
      <dgm:prSet presAssocID="{F4EA981A-F986-4877-BD25-5C14FE41D176}" presName="rootConnector" presStyleLbl="node3" presStyleIdx="16" presStyleCnt="26"/>
      <dgm:spPr/>
      <dgm:t>
        <a:bodyPr/>
        <a:lstStyle/>
        <a:p>
          <a:endParaRPr lang="en-GB"/>
        </a:p>
      </dgm:t>
    </dgm:pt>
    <dgm:pt modelId="{9C4339F7-3EFD-4F3B-A986-8D230CE96470}" type="pres">
      <dgm:prSet presAssocID="{F4EA981A-F986-4877-BD25-5C14FE41D176}" presName="hierChild4" presStyleCnt="0"/>
      <dgm:spPr/>
    </dgm:pt>
    <dgm:pt modelId="{6841046C-A373-43FC-AD58-F587E8686F44}" type="pres">
      <dgm:prSet presAssocID="{F4EA981A-F986-4877-BD25-5C14FE41D176}" presName="hierChild5" presStyleCnt="0"/>
      <dgm:spPr/>
    </dgm:pt>
    <dgm:pt modelId="{1B9B1158-72D8-4646-84DD-EF716B116A0C}" type="pres">
      <dgm:prSet presAssocID="{B5C8BB55-6EF8-44D3-999A-69265F0E1FBC}" presName="Name37" presStyleLbl="parChTrans1D3" presStyleIdx="17" presStyleCnt="26"/>
      <dgm:spPr>
        <a:custGeom>
          <a:avLst/>
          <a:gdLst/>
          <a:ahLst/>
          <a:cxnLst/>
          <a:rect l="0" t="0" r="0" b="0"/>
          <a:pathLst>
            <a:path>
              <a:moveTo>
                <a:pt x="102103" y="0"/>
              </a:moveTo>
              <a:lnTo>
                <a:pt x="0" y="1017319"/>
              </a:lnTo>
            </a:path>
          </a:pathLst>
        </a:custGeom>
      </dgm:spPr>
      <dgm:t>
        <a:bodyPr/>
        <a:lstStyle/>
        <a:p>
          <a:endParaRPr lang="en-GB"/>
        </a:p>
      </dgm:t>
    </dgm:pt>
    <dgm:pt modelId="{91134C7B-6308-40CC-8BCC-21F895B27679}" type="pres">
      <dgm:prSet presAssocID="{93ABD30C-0E7B-486F-A681-9A005A28D744}" presName="hierRoot2" presStyleCnt="0">
        <dgm:presLayoutVars>
          <dgm:hierBranch val="init"/>
        </dgm:presLayoutVars>
      </dgm:prSet>
      <dgm:spPr/>
    </dgm:pt>
    <dgm:pt modelId="{907D4FED-0B85-4459-B11D-7880BF19FE84}" type="pres">
      <dgm:prSet presAssocID="{93ABD30C-0E7B-486F-A681-9A005A28D744}" presName="rootComposite" presStyleCnt="0"/>
      <dgm:spPr/>
    </dgm:pt>
    <dgm:pt modelId="{6B26C1DA-C267-4CEE-A825-2498CB5CCDE4}" type="pres">
      <dgm:prSet presAssocID="{93ABD30C-0E7B-486F-A681-9A005A28D744}" presName="rootText" presStyleLbl="node3" presStyleIdx="17" presStyleCnt="26" custScaleX="216984" custScaleY="126094" custLinFactNeighborX="-43216" custLinFactNeighborY="-77287">
        <dgm:presLayoutVars>
          <dgm:chPref val="3"/>
        </dgm:presLayoutVars>
      </dgm:prSet>
      <dgm:spPr>
        <a:prstGeom prst="rect">
          <a:avLst/>
        </a:prstGeom>
      </dgm:spPr>
      <dgm:t>
        <a:bodyPr/>
        <a:lstStyle/>
        <a:p>
          <a:endParaRPr lang="en-GB"/>
        </a:p>
      </dgm:t>
    </dgm:pt>
    <dgm:pt modelId="{4DC09D01-8663-4654-AAA6-5B039AD072A1}" type="pres">
      <dgm:prSet presAssocID="{93ABD30C-0E7B-486F-A681-9A005A28D744}" presName="rootConnector" presStyleLbl="node3" presStyleIdx="17" presStyleCnt="26"/>
      <dgm:spPr/>
      <dgm:t>
        <a:bodyPr/>
        <a:lstStyle/>
        <a:p>
          <a:endParaRPr lang="en-GB"/>
        </a:p>
      </dgm:t>
    </dgm:pt>
    <dgm:pt modelId="{6D4C8EFB-9A63-4D1C-B48D-76E9CCC91125}" type="pres">
      <dgm:prSet presAssocID="{93ABD30C-0E7B-486F-A681-9A005A28D744}" presName="hierChild4" presStyleCnt="0"/>
      <dgm:spPr/>
    </dgm:pt>
    <dgm:pt modelId="{62F18575-2872-43AF-B296-AD9C83EBCE51}" type="pres">
      <dgm:prSet presAssocID="{93ABD30C-0E7B-486F-A681-9A005A28D744}" presName="hierChild5" presStyleCnt="0"/>
      <dgm:spPr/>
    </dgm:pt>
    <dgm:pt modelId="{07B10B61-0933-49D5-9F06-7E2744C55194}" type="pres">
      <dgm:prSet presAssocID="{4367FA1D-0ED9-4CD2-A69D-AB32E669494E}" presName="Name37" presStyleLbl="parChTrans1D3" presStyleIdx="18" presStyleCnt="26"/>
      <dgm:spPr>
        <a:custGeom>
          <a:avLst/>
          <a:gdLst/>
          <a:ahLst/>
          <a:cxnLst/>
          <a:rect l="0" t="0" r="0" b="0"/>
          <a:pathLst>
            <a:path>
              <a:moveTo>
                <a:pt x="102103" y="0"/>
              </a:moveTo>
              <a:lnTo>
                <a:pt x="0" y="1657522"/>
              </a:lnTo>
            </a:path>
          </a:pathLst>
        </a:custGeom>
      </dgm:spPr>
      <dgm:t>
        <a:bodyPr/>
        <a:lstStyle/>
        <a:p>
          <a:endParaRPr lang="en-GB"/>
        </a:p>
      </dgm:t>
    </dgm:pt>
    <dgm:pt modelId="{B7B6B13A-B466-44A7-9373-F20080332702}" type="pres">
      <dgm:prSet presAssocID="{698692B6-1357-4EE6-9048-DE912A24D330}" presName="hierRoot2" presStyleCnt="0">
        <dgm:presLayoutVars>
          <dgm:hierBranch val="init"/>
        </dgm:presLayoutVars>
      </dgm:prSet>
      <dgm:spPr/>
    </dgm:pt>
    <dgm:pt modelId="{8DD64E20-1315-4B75-8660-B8B28B286A90}" type="pres">
      <dgm:prSet presAssocID="{698692B6-1357-4EE6-9048-DE912A24D330}" presName="rootComposite" presStyleCnt="0"/>
      <dgm:spPr/>
    </dgm:pt>
    <dgm:pt modelId="{9E15D32B-A159-4B43-91E5-E167856E33BF}" type="pres">
      <dgm:prSet presAssocID="{698692B6-1357-4EE6-9048-DE912A24D330}" presName="rootText" presStyleLbl="node3" presStyleIdx="18" presStyleCnt="26" custScaleX="216984" custScaleY="126094" custLinFactY="-3339" custLinFactNeighborX="-43216" custLinFactNeighborY="-100000">
        <dgm:presLayoutVars>
          <dgm:chPref val="3"/>
        </dgm:presLayoutVars>
      </dgm:prSet>
      <dgm:spPr>
        <a:prstGeom prst="rect">
          <a:avLst/>
        </a:prstGeom>
      </dgm:spPr>
      <dgm:t>
        <a:bodyPr/>
        <a:lstStyle/>
        <a:p>
          <a:endParaRPr lang="en-GB"/>
        </a:p>
      </dgm:t>
    </dgm:pt>
    <dgm:pt modelId="{445AE659-5C5A-488F-9D84-8716842FB809}" type="pres">
      <dgm:prSet presAssocID="{698692B6-1357-4EE6-9048-DE912A24D330}" presName="rootConnector" presStyleLbl="node3" presStyleIdx="18" presStyleCnt="26"/>
      <dgm:spPr/>
      <dgm:t>
        <a:bodyPr/>
        <a:lstStyle/>
        <a:p>
          <a:endParaRPr lang="en-GB"/>
        </a:p>
      </dgm:t>
    </dgm:pt>
    <dgm:pt modelId="{30005633-7034-4DF5-8FA8-E6150C3C532A}" type="pres">
      <dgm:prSet presAssocID="{698692B6-1357-4EE6-9048-DE912A24D330}" presName="hierChild4" presStyleCnt="0"/>
      <dgm:spPr/>
    </dgm:pt>
    <dgm:pt modelId="{D37E5529-BA5A-40ED-9DF4-F763BEE0B11E}" type="pres">
      <dgm:prSet presAssocID="{698692B6-1357-4EE6-9048-DE912A24D330}" presName="hierChild5" presStyleCnt="0"/>
      <dgm:spPr/>
    </dgm:pt>
    <dgm:pt modelId="{A8C59E33-8BD9-4E59-8FBA-3889B6B99033}" type="pres">
      <dgm:prSet presAssocID="{B8408C07-B965-420B-AA4F-EF7BF3626137}" presName="hierChild5" presStyleCnt="0"/>
      <dgm:spPr/>
    </dgm:pt>
    <dgm:pt modelId="{76881711-8B76-4157-8371-D2A005E257D7}" type="pres">
      <dgm:prSet presAssocID="{0C80A140-103B-41C0-9712-E50AB27044E3}" presName="Name37" presStyleLbl="parChTrans1D2" presStyleIdx="4" presStyleCnt="5"/>
      <dgm:spPr>
        <a:custGeom>
          <a:avLst/>
          <a:gdLst/>
          <a:ahLst/>
          <a:cxnLst/>
          <a:rect l="0" t="0" r="0" b="0"/>
          <a:pathLst>
            <a:path>
              <a:moveTo>
                <a:pt x="0" y="45720"/>
              </a:moveTo>
              <a:lnTo>
                <a:pt x="5522117" y="45720"/>
              </a:lnTo>
              <a:lnTo>
                <a:pt x="5522117" y="111368"/>
              </a:lnTo>
            </a:path>
          </a:pathLst>
        </a:custGeom>
      </dgm:spPr>
      <dgm:t>
        <a:bodyPr/>
        <a:lstStyle/>
        <a:p>
          <a:endParaRPr lang="en-GB"/>
        </a:p>
      </dgm:t>
    </dgm:pt>
    <dgm:pt modelId="{B016AF52-EF24-48EA-B883-B7A6EEBD317C}" type="pres">
      <dgm:prSet presAssocID="{B983738D-B6CD-4ACC-B021-5D6559383373}" presName="hierRoot2" presStyleCnt="0">
        <dgm:presLayoutVars>
          <dgm:hierBranch val="init"/>
        </dgm:presLayoutVars>
      </dgm:prSet>
      <dgm:spPr/>
    </dgm:pt>
    <dgm:pt modelId="{7B1C4C30-4B36-4C3F-9AEE-26CC76DCF16A}" type="pres">
      <dgm:prSet presAssocID="{B983738D-B6CD-4ACC-B021-5D6559383373}" presName="rootComposite" presStyleCnt="0"/>
      <dgm:spPr/>
    </dgm:pt>
    <dgm:pt modelId="{C9A66C12-5161-47AC-809C-85074A4E7350}" type="pres">
      <dgm:prSet presAssocID="{B983738D-B6CD-4ACC-B021-5D6559383373}" presName="rootText" presStyleLbl="node2" presStyleIdx="4" presStyleCnt="5" custScaleX="243614" custScaleY="134544" custLinFactNeighborX="-3059" custLinFactNeighborY="-29859">
        <dgm:presLayoutVars>
          <dgm:chPref val="3"/>
        </dgm:presLayoutVars>
      </dgm:prSet>
      <dgm:spPr>
        <a:prstGeom prst="rect">
          <a:avLst/>
        </a:prstGeom>
      </dgm:spPr>
      <dgm:t>
        <a:bodyPr/>
        <a:lstStyle/>
        <a:p>
          <a:endParaRPr lang="en-GB"/>
        </a:p>
      </dgm:t>
    </dgm:pt>
    <dgm:pt modelId="{1E0CCDDD-DA94-48AA-9AF2-605E42E813DB}" type="pres">
      <dgm:prSet presAssocID="{B983738D-B6CD-4ACC-B021-5D6559383373}" presName="rootConnector" presStyleLbl="node2" presStyleIdx="4" presStyleCnt="5"/>
      <dgm:spPr/>
      <dgm:t>
        <a:bodyPr/>
        <a:lstStyle/>
        <a:p>
          <a:endParaRPr lang="en-GB"/>
        </a:p>
      </dgm:t>
    </dgm:pt>
    <dgm:pt modelId="{0D2FB71C-9870-4800-99B8-E9BCED327B60}" type="pres">
      <dgm:prSet presAssocID="{B983738D-B6CD-4ACC-B021-5D6559383373}" presName="hierChild4" presStyleCnt="0"/>
      <dgm:spPr/>
    </dgm:pt>
    <dgm:pt modelId="{E969B95B-BF5F-4C79-8B06-7BB350822E73}" type="pres">
      <dgm:prSet presAssocID="{053B73E8-8B63-4D84-B935-856163DE1EFC}" presName="Name37" presStyleLbl="parChTrans1D3" presStyleIdx="19" presStyleCnt="26"/>
      <dgm:spPr>
        <a:custGeom>
          <a:avLst/>
          <a:gdLst/>
          <a:ahLst/>
          <a:cxnLst/>
          <a:rect l="0" t="0" r="0" b="0"/>
          <a:pathLst>
            <a:path>
              <a:moveTo>
                <a:pt x="92566" y="0"/>
              </a:moveTo>
              <a:lnTo>
                <a:pt x="45720" y="292346"/>
              </a:lnTo>
            </a:path>
          </a:pathLst>
        </a:custGeom>
      </dgm:spPr>
      <dgm:t>
        <a:bodyPr/>
        <a:lstStyle/>
        <a:p>
          <a:endParaRPr lang="en-GB"/>
        </a:p>
      </dgm:t>
    </dgm:pt>
    <dgm:pt modelId="{E4E41682-C694-4778-9E28-FB0026AF1386}" type="pres">
      <dgm:prSet presAssocID="{2FEE9ABB-9118-4F89-B57E-5FB3AE26A9DD}" presName="hierRoot2" presStyleCnt="0">
        <dgm:presLayoutVars>
          <dgm:hierBranch val="init"/>
        </dgm:presLayoutVars>
      </dgm:prSet>
      <dgm:spPr/>
    </dgm:pt>
    <dgm:pt modelId="{6A851532-5B0C-4B9B-9ECB-B4597A40A85E}" type="pres">
      <dgm:prSet presAssocID="{2FEE9ABB-9118-4F89-B57E-5FB3AE26A9DD}" presName="rootComposite" presStyleCnt="0"/>
      <dgm:spPr/>
    </dgm:pt>
    <dgm:pt modelId="{C6932264-56D3-4DF9-8D2C-021A743567DD}" type="pres">
      <dgm:prSet presAssocID="{2FEE9ABB-9118-4F89-B57E-5FB3AE26A9DD}" presName="rootText" presStyleLbl="node3" presStyleIdx="19" presStyleCnt="26" custScaleX="199071" custLinFactNeighborX="-44798" custLinFactNeighborY="-56996">
        <dgm:presLayoutVars>
          <dgm:chPref val="3"/>
        </dgm:presLayoutVars>
      </dgm:prSet>
      <dgm:spPr>
        <a:prstGeom prst="rect">
          <a:avLst/>
        </a:prstGeom>
      </dgm:spPr>
      <dgm:t>
        <a:bodyPr/>
        <a:lstStyle/>
        <a:p>
          <a:endParaRPr lang="en-GB"/>
        </a:p>
      </dgm:t>
    </dgm:pt>
    <dgm:pt modelId="{DD9CCF90-B2E3-4925-9055-02B847306E59}" type="pres">
      <dgm:prSet presAssocID="{2FEE9ABB-9118-4F89-B57E-5FB3AE26A9DD}" presName="rootConnector" presStyleLbl="node3" presStyleIdx="19" presStyleCnt="26"/>
      <dgm:spPr/>
      <dgm:t>
        <a:bodyPr/>
        <a:lstStyle/>
        <a:p>
          <a:endParaRPr lang="en-GB"/>
        </a:p>
      </dgm:t>
    </dgm:pt>
    <dgm:pt modelId="{9C95F66F-D879-42DF-941B-74DE22032C94}" type="pres">
      <dgm:prSet presAssocID="{2FEE9ABB-9118-4F89-B57E-5FB3AE26A9DD}" presName="hierChild4" presStyleCnt="0"/>
      <dgm:spPr/>
    </dgm:pt>
    <dgm:pt modelId="{4AFB5385-10EC-475F-B2F8-B6CCD7D7E4D2}" type="pres">
      <dgm:prSet presAssocID="{2FEE9ABB-9118-4F89-B57E-5FB3AE26A9DD}" presName="hierChild5" presStyleCnt="0"/>
      <dgm:spPr/>
    </dgm:pt>
    <dgm:pt modelId="{30D36E63-1B7A-4999-B032-672C2B5B93C8}" type="pres">
      <dgm:prSet presAssocID="{7F261382-8D87-413A-8D05-DC35E9B459FF}" presName="Name37" presStyleLbl="parChTrans1D3" presStyleIdx="20" presStyleCnt="26"/>
      <dgm:spPr>
        <a:custGeom>
          <a:avLst/>
          <a:gdLst/>
          <a:ahLst/>
          <a:cxnLst/>
          <a:rect l="0" t="0" r="0" b="0"/>
          <a:pathLst>
            <a:path>
              <a:moveTo>
                <a:pt x="89258" y="0"/>
              </a:moveTo>
              <a:lnTo>
                <a:pt x="45720" y="796943"/>
              </a:lnTo>
            </a:path>
          </a:pathLst>
        </a:custGeom>
      </dgm:spPr>
      <dgm:t>
        <a:bodyPr/>
        <a:lstStyle/>
        <a:p>
          <a:endParaRPr lang="en-GB"/>
        </a:p>
      </dgm:t>
    </dgm:pt>
    <dgm:pt modelId="{3A929C0E-81FB-4E7A-BE59-62AB48FCBF88}" type="pres">
      <dgm:prSet presAssocID="{9D90A7A5-CCD4-4D01-BA9A-53F4E97656E6}" presName="hierRoot2" presStyleCnt="0">
        <dgm:presLayoutVars>
          <dgm:hierBranch val="init"/>
        </dgm:presLayoutVars>
      </dgm:prSet>
      <dgm:spPr/>
    </dgm:pt>
    <dgm:pt modelId="{010BE033-EC63-4A67-B243-9D80E2AA578A}" type="pres">
      <dgm:prSet presAssocID="{9D90A7A5-CCD4-4D01-BA9A-53F4E97656E6}" presName="rootComposite" presStyleCnt="0"/>
      <dgm:spPr/>
    </dgm:pt>
    <dgm:pt modelId="{699B182D-F671-424A-9A63-23C7C7B4D8F7}" type="pres">
      <dgm:prSet presAssocID="{9D90A7A5-CCD4-4D01-BA9A-53F4E97656E6}" presName="rootText" presStyleLbl="node3" presStyleIdx="20" presStyleCnt="26" custScaleX="199071" custLinFactNeighborX="-44431" custLinFactNeighborY="-87041">
        <dgm:presLayoutVars>
          <dgm:chPref val="3"/>
        </dgm:presLayoutVars>
      </dgm:prSet>
      <dgm:spPr>
        <a:prstGeom prst="rect">
          <a:avLst/>
        </a:prstGeom>
      </dgm:spPr>
      <dgm:t>
        <a:bodyPr/>
        <a:lstStyle/>
        <a:p>
          <a:endParaRPr lang="en-GB"/>
        </a:p>
      </dgm:t>
    </dgm:pt>
    <dgm:pt modelId="{4803F6AC-2159-4596-8F72-02FB462BBC70}" type="pres">
      <dgm:prSet presAssocID="{9D90A7A5-CCD4-4D01-BA9A-53F4E97656E6}" presName="rootConnector" presStyleLbl="node3" presStyleIdx="20" presStyleCnt="26"/>
      <dgm:spPr/>
      <dgm:t>
        <a:bodyPr/>
        <a:lstStyle/>
        <a:p>
          <a:endParaRPr lang="en-GB"/>
        </a:p>
      </dgm:t>
    </dgm:pt>
    <dgm:pt modelId="{86B10551-3A3E-41F6-A685-E06E17DB6929}" type="pres">
      <dgm:prSet presAssocID="{9D90A7A5-CCD4-4D01-BA9A-53F4E97656E6}" presName="hierChild4" presStyleCnt="0"/>
      <dgm:spPr/>
    </dgm:pt>
    <dgm:pt modelId="{209ADEF1-73DF-445E-821E-111D0C0ECE48}" type="pres">
      <dgm:prSet presAssocID="{9D90A7A5-CCD4-4D01-BA9A-53F4E97656E6}" presName="hierChild5" presStyleCnt="0"/>
      <dgm:spPr/>
    </dgm:pt>
    <dgm:pt modelId="{0513B296-BBE7-4146-9B5C-663C91C280DB}" type="pres">
      <dgm:prSet presAssocID="{D9CCD712-DF0C-486C-9EAE-42146F1FF777}" presName="Name37" presStyleLbl="parChTrans1D3" presStyleIdx="21" presStyleCnt="26"/>
      <dgm:spPr>
        <a:custGeom>
          <a:avLst/>
          <a:gdLst/>
          <a:ahLst/>
          <a:cxnLst/>
          <a:rect l="0" t="0" r="0" b="0"/>
          <a:pathLst>
            <a:path>
              <a:moveTo>
                <a:pt x="89258" y="0"/>
              </a:moveTo>
              <a:lnTo>
                <a:pt x="45720" y="1314655"/>
              </a:lnTo>
            </a:path>
          </a:pathLst>
        </a:custGeom>
      </dgm:spPr>
      <dgm:t>
        <a:bodyPr/>
        <a:lstStyle/>
        <a:p>
          <a:endParaRPr lang="en-GB"/>
        </a:p>
      </dgm:t>
    </dgm:pt>
    <dgm:pt modelId="{B8858D5F-7F88-42D1-9217-E0B98A94FD47}" type="pres">
      <dgm:prSet presAssocID="{E13C7255-99C3-463C-88B3-944FDDEDDCC1}" presName="hierRoot2" presStyleCnt="0">
        <dgm:presLayoutVars>
          <dgm:hierBranch val="init"/>
        </dgm:presLayoutVars>
      </dgm:prSet>
      <dgm:spPr/>
    </dgm:pt>
    <dgm:pt modelId="{24AEDB05-C598-4D63-A24B-484993FF08B2}" type="pres">
      <dgm:prSet presAssocID="{E13C7255-99C3-463C-88B3-944FDDEDDCC1}" presName="rootComposite" presStyleCnt="0"/>
      <dgm:spPr/>
    </dgm:pt>
    <dgm:pt modelId="{F470B49C-FBB9-45ED-A78A-B1F71A6D76AD}" type="pres">
      <dgm:prSet presAssocID="{E13C7255-99C3-463C-88B3-944FDDEDDCC1}" presName="rootText" presStyleLbl="node3" presStyleIdx="21" presStyleCnt="26" custScaleX="199071" custLinFactY="-14176" custLinFactNeighborX="-44431" custLinFactNeighborY="-100000">
        <dgm:presLayoutVars>
          <dgm:chPref val="3"/>
        </dgm:presLayoutVars>
      </dgm:prSet>
      <dgm:spPr>
        <a:prstGeom prst="rect">
          <a:avLst/>
        </a:prstGeom>
      </dgm:spPr>
      <dgm:t>
        <a:bodyPr/>
        <a:lstStyle/>
        <a:p>
          <a:endParaRPr lang="en-GB"/>
        </a:p>
      </dgm:t>
    </dgm:pt>
    <dgm:pt modelId="{81388B3A-C50A-4FAA-BF40-8230A03C9B9A}" type="pres">
      <dgm:prSet presAssocID="{E13C7255-99C3-463C-88B3-944FDDEDDCC1}" presName="rootConnector" presStyleLbl="node3" presStyleIdx="21" presStyleCnt="26"/>
      <dgm:spPr/>
      <dgm:t>
        <a:bodyPr/>
        <a:lstStyle/>
        <a:p>
          <a:endParaRPr lang="en-GB"/>
        </a:p>
      </dgm:t>
    </dgm:pt>
    <dgm:pt modelId="{CB51F144-535B-4F4B-BBE8-2C80F6F7F0F9}" type="pres">
      <dgm:prSet presAssocID="{E13C7255-99C3-463C-88B3-944FDDEDDCC1}" presName="hierChild4" presStyleCnt="0"/>
      <dgm:spPr/>
    </dgm:pt>
    <dgm:pt modelId="{259FE6F9-A254-4881-B500-D9A71E5D65D2}" type="pres">
      <dgm:prSet presAssocID="{E13C7255-99C3-463C-88B3-944FDDEDDCC1}" presName="hierChild5" presStyleCnt="0"/>
      <dgm:spPr/>
    </dgm:pt>
    <dgm:pt modelId="{47F1120A-A083-49E8-9E5C-CE1F6413F9BB}" type="pres">
      <dgm:prSet presAssocID="{F5AAD115-D470-4475-8607-D5E6FED1948F}" presName="Name37" presStyleLbl="parChTrans1D3" presStyleIdx="22" presStyleCnt="26"/>
      <dgm:spPr>
        <a:custGeom>
          <a:avLst/>
          <a:gdLst/>
          <a:ahLst/>
          <a:cxnLst/>
          <a:rect l="0" t="0" r="0" b="0"/>
          <a:pathLst>
            <a:path>
              <a:moveTo>
                <a:pt x="89258" y="0"/>
              </a:moveTo>
              <a:lnTo>
                <a:pt x="45720" y="1849986"/>
              </a:lnTo>
            </a:path>
          </a:pathLst>
        </a:custGeom>
      </dgm:spPr>
      <dgm:t>
        <a:bodyPr/>
        <a:lstStyle/>
        <a:p>
          <a:endParaRPr lang="en-GB"/>
        </a:p>
      </dgm:t>
    </dgm:pt>
    <dgm:pt modelId="{59794096-81C7-41A7-8BC8-A5D7F3FC85FE}" type="pres">
      <dgm:prSet presAssocID="{BC412EB7-C7E5-4551-B509-CA54EA28D57E}" presName="hierRoot2" presStyleCnt="0">
        <dgm:presLayoutVars>
          <dgm:hierBranch val="init"/>
        </dgm:presLayoutVars>
      </dgm:prSet>
      <dgm:spPr/>
    </dgm:pt>
    <dgm:pt modelId="{22EBDFD3-E422-4965-BF60-7CDD7822315D}" type="pres">
      <dgm:prSet presAssocID="{BC412EB7-C7E5-4551-B509-CA54EA28D57E}" presName="rootComposite" presStyleCnt="0"/>
      <dgm:spPr/>
    </dgm:pt>
    <dgm:pt modelId="{20731877-7187-429D-B3A8-7DECDA5070FE}" type="pres">
      <dgm:prSet presAssocID="{BC412EB7-C7E5-4551-B509-CA54EA28D57E}" presName="rootText" presStyleLbl="node3" presStyleIdx="22" presStyleCnt="26" custScaleX="199071" custLinFactY="-37402" custLinFactNeighborX="-44431" custLinFactNeighborY="-100000">
        <dgm:presLayoutVars>
          <dgm:chPref val="3"/>
        </dgm:presLayoutVars>
      </dgm:prSet>
      <dgm:spPr>
        <a:prstGeom prst="rect">
          <a:avLst/>
        </a:prstGeom>
      </dgm:spPr>
      <dgm:t>
        <a:bodyPr/>
        <a:lstStyle/>
        <a:p>
          <a:endParaRPr lang="en-GB"/>
        </a:p>
      </dgm:t>
    </dgm:pt>
    <dgm:pt modelId="{B64ED020-C463-49FF-8094-016150B2A60C}" type="pres">
      <dgm:prSet presAssocID="{BC412EB7-C7E5-4551-B509-CA54EA28D57E}" presName="rootConnector" presStyleLbl="node3" presStyleIdx="22" presStyleCnt="26"/>
      <dgm:spPr/>
      <dgm:t>
        <a:bodyPr/>
        <a:lstStyle/>
        <a:p>
          <a:endParaRPr lang="en-GB"/>
        </a:p>
      </dgm:t>
    </dgm:pt>
    <dgm:pt modelId="{EA9BAB9B-5E77-475B-AE9C-0CBD4E07AB33}" type="pres">
      <dgm:prSet presAssocID="{BC412EB7-C7E5-4551-B509-CA54EA28D57E}" presName="hierChild4" presStyleCnt="0"/>
      <dgm:spPr/>
    </dgm:pt>
    <dgm:pt modelId="{FB48E384-92C0-4C77-BF57-00E2BB453755}" type="pres">
      <dgm:prSet presAssocID="{BC412EB7-C7E5-4551-B509-CA54EA28D57E}" presName="hierChild5" presStyleCnt="0"/>
      <dgm:spPr/>
    </dgm:pt>
    <dgm:pt modelId="{5FD6F4FB-DDB8-4ECF-B98C-0BEC42938CD3}" type="pres">
      <dgm:prSet presAssocID="{CBD5489F-E4C0-487E-8E70-409B6544C7FE}" presName="Name37" presStyleLbl="parChTrans1D3" presStyleIdx="23" presStyleCnt="26"/>
      <dgm:spPr>
        <a:custGeom>
          <a:avLst/>
          <a:gdLst/>
          <a:ahLst/>
          <a:cxnLst/>
          <a:rect l="0" t="0" r="0" b="0"/>
          <a:pathLst>
            <a:path>
              <a:moveTo>
                <a:pt x="89258" y="0"/>
              </a:moveTo>
              <a:lnTo>
                <a:pt x="45720" y="2380890"/>
              </a:lnTo>
            </a:path>
          </a:pathLst>
        </a:custGeom>
      </dgm:spPr>
      <dgm:t>
        <a:bodyPr/>
        <a:lstStyle/>
        <a:p>
          <a:endParaRPr lang="en-GB"/>
        </a:p>
      </dgm:t>
    </dgm:pt>
    <dgm:pt modelId="{09C1AAE6-97D2-45F0-AA5F-3BDB24EEADC8}" type="pres">
      <dgm:prSet presAssocID="{8CE32C3B-0D8F-4350-95E0-06E2647F48A5}" presName="hierRoot2" presStyleCnt="0">
        <dgm:presLayoutVars>
          <dgm:hierBranch val="init"/>
        </dgm:presLayoutVars>
      </dgm:prSet>
      <dgm:spPr/>
    </dgm:pt>
    <dgm:pt modelId="{8DBA0E44-5570-43AF-832B-1A54869FDB2A}" type="pres">
      <dgm:prSet presAssocID="{8CE32C3B-0D8F-4350-95E0-06E2647F48A5}" presName="rootComposite" presStyleCnt="0"/>
      <dgm:spPr/>
    </dgm:pt>
    <dgm:pt modelId="{1A8B11D2-3342-43F5-B281-F26FA4BDE16F}" type="pres">
      <dgm:prSet presAssocID="{8CE32C3B-0D8F-4350-95E0-06E2647F48A5}" presName="rootText" presStyleLbl="node3" presStyleIdx="23" presStyleCnt="26" custScaleX="199071" custLinFactY="-61610" custLinFactNeighborX="-44431" custLinFactNeighborY="-100000">
        <dgm:presLayoutVars>
          <dgm:chPref val="3"/>
        </dgm:presLayoutVars>
      </dgm:prSet>
      <dgm:spPr>
        <a:prstGeom prst="rect">
          <a:avLst/>
        </a:prstGeom>
      </dgm:spPr>
      <dgm:t>
        <a:bodyPr/>
        <a:lstStyle/>
        <a:p>
          <a:endParaRPr lang="en-GB"/>
        </a:p>
      </dgm:t>
    </dgm:pt>
    <dgm:pt modelId="{B991F8E7-E96B-4D05-AE80-B5FE9647EED7}" type="pres">
      <dgm:prSet presAssocID="{8CE32C3B-0D8F-4350-95E0-06E2647F48A5}" presName="rootConnector" presStyleLbl="node3" presStyleIdx="23" presStyleCnt="26"/>
      <dgm:spPr/>
      <dgm:t>
        <a:bodyPr/>
        <a:lstStyle/>
        <a:p>
          <a:endParaRPr lang="en-GB"/>
        </a:p>
      </dgm:t>
    </dgm:pt>
    <dgm:pt modelId="{27FC1422-098A-4B73-9241-2A583A938843}" type="pres">
      <dgm:prSet presAssocID="{8CE32C3B-0D8F-4350-95E0-06E2647F48A5}" presName="hierChild4" presStyleCnt="0"/>
      <dgm:spPr/>
    </dgm:pt>
    <dgm:pt modelId="{9D794841-7694-453F-AF78-B2CE32D1AA95}" type="pres">
      <dgm:prSet presAssocID="{8CE32C3B-0D8F-4350-95E0-06E2647F48A5}" presName="hierChild5" presStyleCnt="0"/>
      <dgm:spPr/>
    </dgm:pt>
    <dgm:pt modelId="{2A44425D-D7C8-40F6-A0F1-CB9AD593B73B}" type="pres">
      <dgm:prSet presAssocID="{143F3EEF-62D8-43AD-8063-BA1FD86AC836}" presName="Name37" presStyleLbl="parChTrans1D3" presStyleIdx="24" presStyleCnt="26"/>
      <dgm:spPr>
        <a:custGeom>
          <a:avLst/>
          <a:gdLst/>
          <a:ahLst/>
          <a:cxnLst/>
          <a:rect l="0" t="0" r="0" b="0"/>
          <a:pathLst>
            <a:path>
              <a:moveTo>
                <a:pt x="89258" y="0"/>
              </a:moveTo>
              <a:lnTo>
                <a:pt x="45720" y="2929341"/>
              </a:lnTo>
            </a:path>
          </a:pathLst>
        </a:custGeom>
      </dgm:spPr>
      <dgm:t>
        <a:bodyPr/>
        <a:lstStyle/>
        <a:p>
          <a:endParaRPr lang="en-GB"/>
        </a:p>
      </dgm:t>
    </dgm:pt>
    <dgm:pt modelId="{425919B7-9E1B-4C61-BBA5-3B5568B3D22D}" type="pres">
      <dgm:prSet presAssocID="{4A08814D-C873-480C-BD28-7A65D53F71D8}" presName="hierRoot2" presStyleCnt="0">
        <dgm:presLayoutVars>
          <dgm:hierBranch val="init"/>
        </dgm:presLayoutVars>
      </dgm:prSet>
      <dgm:spPr/>
    </dgm:pt>
    <dgm:pt modelId="{FC05B788-26A6-4CD1-9579-8AD4F5122318}" type="pres">
      <dgm:prSet presAssocID="{4A08814D-C873-480C-BD28-7A65D53F71D8}" presName="rootComposite" presStyleCnt="0"/>
      <dgm:spPr/>
    </dgm:pt>
    <dgm:pt modelId="{043824C3-24DA-4A30-A957-CD48C867E7EB}" type="pres">
      <dgm:prSet presAssocID="{4A08814D-C873-480C-BD28-7A65D53F71D8}" presName="rootText" presStyleLbl="node3" presStyleIdx="24" presStyleCnt="26" custScaleX="199071" custLinFactY="-81925" custLinFactNeighborX="-44431" custLinFactNeighborY="-100000">
        <dgm:presLayoutVars>
          <dgm:chPref val="3"/>
        </dgm:presLayoutVars>
      </dgm:prSet>
      <dgm:spPr>
        <a:prstGeom prst="rect">
          <a:avLst/>
        </a:prstGeom>
      </dgm:spPr>
      <dgm:t>
        <a:bodyPr/>
        <a:lstStyle/>
        <a:p>
          <a:endParaRPr lang="en-GB"/>
        </a:p>
      </dgm:t>
    </dgm:pt>
    <dgm:pt modelId="{8A5A4975-D139-4DFF-BF92-2C4891FCFD7D}" type="pres">
      <dgm:prSet presAssocID="{4A08814D-C873-480C-BD28-7A65D53F71D8}" presName="rootConnector" presStyleLbl="node3" presStyleIdx="24" presStyleCnt="26"/>
      <dgm:spPr/>
      <dgm:t>
        <a:bodyPr/>
        <a:lstStyle/>
        <a:p>
          <a:endParaRPr lang="en-GB"/>
        </a:p>
      </dgm:t>
    </dgm:pt>
    <dgm:pt modelId="{C4C88432-A0E0-466E-93A2-DB3F93B5EF73}" type="pres">
      <dgm:prSet presAssocID="{4A08814D-C873-480C-BD28-7A65D53F71D8}" presName="hierChild4" presStyleCnt="0"/>
      <dgm:spPr/>
    </dgm:pt>
    <dgm:pt modelId="{A7715335-09D7-4946-B779-A42808A7EC71}" type="pres">
      <dgm:prSet presAssocID="{4A08814D-C873-480C-BD28-7A65D53F71D8}" presName="hierChild5" presStyleCnt="0"/>
      <dgm:spPr/>
    </dgm:pt>
    <dgm:pt modelId="{D9E992A6-A633-4754-A876-B06BF9F7A37B}" type="pres">
      <dgm:prSet presAssocID="{6C962E12-A7E7-4DBA-B1EE-60065B1DDA80}" presName="Name37" presStyleLbl="parChTrans1D3" presStyleIdx="25" presStyleCnt="26"/>
      <dgm:spPr>
        <a:custGeom>
          <a:avLst/>
          <a:gdLst/>
          <a:ahLst/>
          <a:cxnLst/>
          <a:rect l="0" t="0" r="0" b="0"/>
          <a:pathLst>
            <a:path>
              <a:moveTo>
                <a:pt x="89258" y="0"/>
              </a:moveTo>
              <a:lnTo>
                <a:pt x="45720" y="3458319"/>
              </a:lnTo>
            </a:path>
          </a:pathLst>
        </a:custGeom>
      </dgm:spPr>
      <dgm:t>
        <a:bodyPr/>
        <a:lstStyle/>
        <a:p>
          <a:endParaRPr lang="en-GB"/>
        </a:p>
      </dgm:t>
    </dgm:pt>
    <dgm:pt modelId="{C8EFECE9-7CC0-4C94-BC3C-8CE7CF6FB630}" type="pres">
      <dgm:prSet presAssocID="{44283B74-6908-4E7F-9B11-0AFB346BE0A4}" presName="hierRoot2" presStyleCnt="0">
        <dgm:presLayoutVars>
          <dgm:hierBranch val="init"/>
        </dgm:presLayoutVars>
      </dgm:prSet>
      <dgm:spPr/>
    </dgm:pt>
    <dgm:pt modelId="{B0F2454C-1505-45FF-95F9-BF53329A8B26}" type="pres">
      <dgm:prSet presAssocID="{44283B74-6908-4E7F-9B11-0AFB346BE0A4}" presName="rootComposite" presStyleCnt="0"/>
      <dgm:spPr/>
    </dgm:pt>
    <dgm:pt modelId="{93FCE660-DDC3-4AB5-B916-99CEE63A83BE}" type="pres">
      <dgm:prSet presAssocID="{44283B74-6908-4E7F-9B11-0AFB346BE0A4}" presName="rootText" presStyleLbl="node3" presStyleIdx="25" presStyleCnt="26" custScaleX="199071" custScaleY="103037" custLinFactY="-100000" custLinFactNeighborX="-44431" custLinFactNeighborY="-108079">
        <dgm:presLayoutVars>
          <dgm:chPref val="3"/>
        </dgm:presLayoutVars>
      </dgm:prSet>
      <dgm:spPr>
        <a:prstGeom prst="rect">
          <a:avLst/>
        </a:prstGeom>
      </dgm:spPr>
      <dgm:t>
        <a:bodyPr/>
        <a:lstStyle/>
        <a:p>
          <a:endParaRPr lang="en-GB"/>
        </a:p>
      </dgm:t>
    </dgm:pt>
    <dgm:pt modelId="{A9406A68-DF67-4473-ACC1-B0C98CF9EF57}" type="pres">
      <dgm:prSet presAssocID="{44283B74-6908-4E7F-9B11-0AFB346BE0A4}" presName="rootConnector" presStyleLbl="node3" presStyleIdx="25" presStyleCnt="26"/>
      <dgm:spPr/>
      <dgm:t>
        <a:bodyPr/>
        <a:lstStyle/>
        <a:p>
          <a:endParaRPr lang="en-GB"/>
        </a:p>
      </dgm:t>
    </dgm:pt>
    <dgm:pt modelId="{CD10DD08-9C09-4AEA-82BC-62178C8FAE16}" type="pres">
      <dgm:prSet presAssocID="{44283B74-6908-4E7F-9B11-0AFB346BE0A4}" presName="hierChild4" presStyleCnt="0"/>
      <dgm:spPr/>
    </dgm:pt>
    <dgm:pt modelId="{C89D0D45-3664-44AC-BDAC-3B543E36099A}" type="pres">
      <dgm:prSet presAssocID="{44283B74-6908-4E7F-9B11-0AFB346BE0A4}" presName="hierChild5" presStyleCnt="0"/>
      <dgm:spPr/>
    </dgm:pt>
    <dgm:pt modelId="{A2B46BB7-F381-46BB-BC2D-7BE85501FBCC}" type="pres">
      <dgm:prSet presAssocID="{B983738D-B6CD-4ACC-B021-5D6559383373}" presName="hierChild5" presStyleCnt="0"/>
      <dgm:spPr/>
    </dgm:pt>
    <dgm:pt modelId="{D141E0DF-F6A8-42EF-9C5A-D0A3BD548DD4}" type="pres">
      <dgm:prSet presAssocID="{563B9CF3-40AE-4F6D-9802-FBE29F2DB0FD}" presName="hierChild3" presStyleCnt="0"/>
      <dgm:spPr/>
    </dgm:pt>
  </dgm:ptLst>
  <dgm:cxnLst>
    <dgm:cxn modelId="{BD4F3C71-A704-49BF-ADEA-3E0F8362BD74}" type="presOf" srcId="{55C81A84-977C-474F-9898-E3299C72446E}" destId="{B0363488-F9A3-4DD4-BCDF-D8D2C1C53362}" srcOrd="0" destOrd="0" presId="urn:microsoft.com/office/officeart/2005/8/layout/orgChart1"/>
    <dgm:cxn modelId="{015D44E0-00F6-4B6A-A029-29B679BB1386}" type="presOf" srcId="{7F261382-8D87-413A-8D05-DC35E9B459FF}" destId="{30D36E63-1B7A-4999-B032-672C2B5B93C8}" srcOrd="0" destOrd="0" presId="urn:microsoft.com/office/officeart/2005/8/layout/orgChart1"/>
    <dgm:cxn modelId="{DD698FAF-C43F-4885-9E8A-C4C9AA06C821}" type="presOf" srcId="{259B2E52-E7E2-4233-88B2-F72E854BF241}" destId="{3DC3783D-00DF-4D73-BC7D-A41DFB3A67B6}" srcOrd="0" destOrd="0" presId="urn:microsoft.com/office/officeart/2005/8/layout/orgChart1"/>
    <dgm:cxn modelId="{CDE390EC-0A33-46E7-B39E-605872AC3975}" type="presOf" srcId="{EB2D0AFA-7107-4A7F-B30A-85794C6D48A5}" destId="{4292BEEF-ED59-4044-B99B-DC4347476C93}" srcOrd="0" destOrd="0" presId="urn:microsoft.com/office/officeart/2005/8/layout/orgChart1"/>
    <dgm:cxn modelId="{D311888E-7DBC-4ECA-935F-6C75AF77593B}" type="presOf" srcId="{4A08814D-C873-480C-BD28-7A65D53F71D8}" destId="{043824C3-24DA-4A30-A957-CD48C867E7EB}" srcOrd="0" destOrd="0" presId="urn:microsoft.com/office/officeart/2005/8/layout/orgChart1"/>
    <dgm:cxn modelId="{1036BE12-78A5-4E02-93F6-C05BF84677B2}" type="presOf" srcId="{4A08814D-C873-480C-BD28-7A65D53F71D8}" destId="{8A5A4975-D139-4DFF-BF92-2C4891FCFD7D}" srcOrd="1" destOrd="0" presId="urn:microsoft.com/office/officeart/2005/8/layout/orgChart1"/>
    <dgm:cxn modelId="{F6FE193F-307E-4119-8B09-AE3F595D20C1}" type="presOf" srcId="{A8A7589E-3DC7-45D1-8F72-BB5B052E3F69}" destId="{CF73B623-D36E-4A4E-8B66-62BC3E50EC0C}" srcOrd="0" destOrd="0" presId="urn:microsoft.com/office/officeart/2005/8/layout/orgChart1"/>
    <dgm:cxn modelId="{DEB97B33-7B2E-4B5F-AA39-D73AE0B2D2BA}" type="presOf" srcId="{6C962E12-A7E7-4DBA-B1EE-60065B1DDA80}" destId="{D9E992A6-A633-4754-A876-B06BF9F7A37B}" srcOrd="0" destOrd="0" presId="urn:microsoft.com/office/officeart/2005/8/layout/orgChart1"/>
    <dgm:cxn modelId="{30F95D54-F48B-4B4B-8A93-62448D5F31C9}" type="presOf" srcId="{4A273B54-5675-4A36-BC30-269F184B394E}" destId="{F0F62E1F-8929-43B7-BB6A-F1C6E74066B2}" srcOrd="0" destOrd="0" presId="urn:microsoft.com/office/officeart/2005/8/layout/orgChart1"/>
    <dgm:cxn modelId="{BBD0F421-93FD-42F8-AB1F-2531A1A779DC}" type="presOf" srcId="{4D9ED46B-69D1-47A5-8587-425F875E60C9}" destId="{F65783CD-FCF3-4364-BDAE-C6B8F35DE4E5}" srcOrd="1" destOrd="0" presId="urn:microsoft.com/office/officeart/2005/8/layout/orgChart1"/>
    <dgm:cxn modelId="{98E0A4CB-4E5A-4EB7-A6E3-FE2BF898A22A}" type="presOf" srcId="{B9768B53-8850-4D94-B15A-B424BE92EB7A}" destId="{15BFC48D-BBC2-4AA7-84DF-E08D387E4BEE}" srcOrd="0" destOrd="0" presId="urn:microsoft.com/office/officeart/2005/8/layout/orgChart1"/>
    <dgm:cxn modelId="{EEFEDA24-8561-4FEC-9D00-07968C607754}" srcId="{27C0C58C-3A95-4427-952F-34ADD3E4CA9C}" destId="{B3CDC9F2-1FA6-4E0F-8439-B8268D9B8069}" srcOrd="4" destOrd="0" parTransId="{74CFB57A-27E6-492C-AA1E-444AA012A6C4}" sibTransId="{B0125F60-2B77-4FFD-9FBC-A9FA2F50345F}"/>
    <dgm:cxn modelId="{0937B064-C435-445C-96C7-BBCA4D05051F}" type="presOf" srcId="{39A6586C-73CD-4D64-A1FA-DFF0D99B7D4E}" destId="{D20E2316-F1C9-4B58-809C-37D7B49498A8}" srcOrd="0" destOrd="0" presId="urn:microsoft.com/office/officeart/2005/8/layout/orgChart1"/>
    <dgm:cxn modelId="{AEBCA40D-CA0E-4C90-A3E0-01E8A2AEF293}" type="presOf" srcId="{88907CE6-6462-4C5F-8943-6C7E5D76B19C}" destId="{D0A2B68C-81AE-484B-AA25-5AD1DD9964D7}" srcOrd="0" destOrd="0" presId="urn:microsoft.com/office/officeart/2005/8/layout/orgChart1"/>
    <dgm:cxn modelId="{F9DC93EA-4A0E-4E4A-8CFF-ED5DD449EEF5}" type="presOf" srcId="{58994A76-1B27-43DF-B02F-100B15B3B104}" destId="{3B68F40B-CA34-4933-9B66-DF0F8E5E033E}" srcOrd="0" destOrd="0" presId="urn:microsoft.com/office/officeart/2005/8/layout/orgChart1"/>
    <dgm:cxn modelId="{1F611F66-E825-490E-BB89-E0A1B69C25A0}" srcId="{B8408C07-B965-420B-AA4F-EF7BF3626137}" destId="{93ABD30C-0E7B-486F-A681-9A005A28D744}" srcOrd="1" destOrd="0" parTransId="{B5C8BB55-6EF8-44D3-999A-69265F0E1FBC}" sibTransId="{863BD30A-A7E9-45B6-B8A5-658CBA70071A}"/>
    <dgm:cxn modelId="{C9910246-DCB2-4BE0-9C67-8926403C861B}" type="presOf" srcId="{143F3EEF-62D8-43AD-8063-BA1FD86AC836}" destId="{2A44425D-D7C8-40F6-A0F1-CB9AD593B73B}" srcOrd="0" destOrd="0" presId="urn:microsoft.com/office/officeart/2005/8/layout/orgChart1"/>
    <dgm:cxn modelId="{CDC2758B-2A2F-4DB0-A9E6-C1259BB5E14A}" type="presOf" srcId="{1E3C57A8-D11A-4464-B252-393BA62CA1A4}" destId="{3AE77575-B618-4540-A5D3-713314C05524}" srcOrd="0" destOrd="0" presId="urn:microsoft.com/office/officeart/2005/8/layout/orgChart1"/>
    <dgm:cxn modelId="{0CB407C0-2E9A-4EE8-900F-51938B7A358F}" srcId="{8022EEFC-19A3-4AF2-888C-321CE5B24E4C}" destId="{563B9CF3-40AE-4F6D-9802-FBE29F2DB0FD}" srcOrd="0" destOrd="0" parTransId="{3E9FD29A-F7AA-4812-AFD7-F4473F2158AD}" sibTransId="{05BEB253-1CA9-4CA9-8CD4-0CB9A17B327C}"/>
    <dgm:cxn modelId="{7406A0A2-973E-44A3-B62D-E75FE14026C2}" type="presOf" srcId="{83E65023-33D0-46DA-A1B3-7F0C7C8C046D}" destId="{00704EBE-B448-41C3-9648-6FB2DE06439D}" srcOrd="1" destOrd="0" presId="urn:microsoft.com/office/officeart/2005/8/layout/orgChart1"/>
    <dgm:cxn modelId="{20DD6BCF-EBBB-46CF-B3F2-5F45E2F4073A}" srcId="{83E65023-33D0-46DA-A1B3-7F0C7C8C046D}" destId="{4A273B54-5675-4A36-BC30-269F184B394E}" srcOrd="5" destOrd="0" parTransId="{B9768B53-8850-4D94-B15A-B424BE92EB7A}" sibTransId="{52079362-CDB7-4D88-9EF5-A9C28CCD6275}"/>
    <dgm:cxn modelId="{7283AEC3-5A9D-49B3-B035-280F58A08BAC}" srcId="{B983738D-B6CD-4ACC-B021-5D6559383373}" destId="{8CE32C3B-0D8F-4350-95E0-06E2647F48A5}" srcOrd="4" destOrd="0" parTransId="{CBD5489F-E4C0-487E-8E70-409B6544C7FE}" sibTransId="{3D84A69F-E197-4E30-9927-1DF3D525EF39}"/>
    <dgm:cxn modelId="{A0CF0732-07C5-42C9-BFBF-C20BB6BE1DC8}" type="presOf" srcId="{BC412EB7-C7E5-4551-B509-CA54EA28D57E}" destId="{B64ED020-C463-49FF-8094-016150B2A60C}" srcOrd="1" destOrd="0" presId="urn:microsoft.com/office/officeart/2005/8/layout/orgChart1"/>
    <dgm:cxn modelId="{E161F89A-1A0B-4996-B618-695861845180}" srcId="{B8408C07-B965-420B-AA4F-EF7BF3626137}" destId="{698692B6-1357-4EE6-9048-DE912A24D330}" srcOrd="2" destOrd="0" parTransId="{4367FA1D-0ED9-4CD2-A69D-AB32E669494E}" sibTransId="{8FA8089E-2D51-4610-81D7-AB21AC040FFC}"/>
    <dgm:cxn modelId="{5AE3EAD3-1C8C-4526-89D6-70233B9E9692}" type="presOf" srcId="{9A7E722F-D005-476C-8D43-4076AB9F30B1}" destId="{EC6C2DB6-0354-41F7-B81C-792F0FA9A4EE}" srcOrd="0" destOrd="0" presId="urn:microsoft.com/office/officeart/2005/8/layout/orgChart1"/>
    <dgm:cxn modelId="{43C0284B-5B96-4269-9A2E-3DFE84D41BA2}" type="presOf" srcId="{93ABD30C-0E7B-486F-A681-9A005A28D744}" destId="{4DC09D01-8663-4654-AAA6-5B039AD072A1}" srcOrd="1" destOrd="0" presId="urn:microsoft.com/office/officeart/2005/8/layout/orgChart1"/>
    <dgm:cxn modelId="{621EE3B8-6D07-459C-A6D3-E3BA410FE6C2}" srcId="{563B9CF3-40AE-4F6D-9802-FBE29F2DB0FD}" destId="{27C0C58C-3A95-4427-952F-34ADD3E4CA9C}" srcOrd="0" destOrd="0" parTransId="{A0F550C9-0B7E-4467-B60C-2FE33DB848F1}" sibTransId="{A48D0EC1-8DC2-4E08-8DF7-FD71B3DFA6AD}"/>
    <dgm:cxn modelId="{3105AF4C-BD04-4A0D-ADC2-F72C9C73CADE}" type="presOf" srcId="{053B73E8-8B63-4D84-B935-856163DE1EFC}" destId="{E969B95B-BF5F-4C79-8B06-7BB350822E73}" srcOrd="0" destOrd="0" presId="urn:microsoft.com/office/officeart/2005/8/layout/orgChart1"/>
    <dgm:cxn modelId="{01C8369B-725A-4C46-A306-D2DA4AB7E4E9}" type="presOf" srcId="{85EB6D14-3548-49D4-9B2D-95B6FE3E896E}" destId="{BDA0D309-749C-449A-8DB4-EAF8CCA3E67D}" srcOrd="0" destOrd="0" presId="urn:microsoft.com/office/officeart/2005/8/layout/orgChart1"/>
    <dgm:cxn modelId="{39E4BC04-9B78-4267-9462-8A77FF6BB347}" type="presOf" srcId="{36F930DE-36A9-4BBF-B0E6-9FDFEF9E53E4}" destId="{679AFEB9-1304-4C46-92B9-D14908334993}" srcOrd="0" destOrd="0" presId="urn:microsoft.com/office/officeart/2005/8/layout/orgChart1"/>
    <dgm:cxn modelId="{41E1AC10-04FD-491E-BFD8-5B4707EB1A87}" type="presOf" srcId="{D9CCD712-DF0C-486C-9EAE-42146F1FF777}" destId="{0513B296-BBE7-4146-9B5C-663C91C280DB}" srcOrd="0" destOrd="0" presId="urn:microsoft.com/office/officeart/2005/8/layout/orgChart1"/>
    <dgm:cxn modelId="{C4296208-345E-4EC1-BA3A-7FAEDB1D0F06}" type="presOf" srcId="{F4EA981A-F986-4877-BD25-5C14FE41D176}" destId="{53D8C03D-8A58-4E09-A501-D19238429C1F}" srcOrd="1" destOrd="0" presId="urn:microsoft.com/office/officeart/2005/8/layout/orgChart1"/>
    <dgm:cxn modelId="{57816D1E-B580-47C0-A950-5C5DB86F664B}" srcId="{83E65023-33D0-46DA-A1B3-7F0C7C8C046D}" destId="{DCA969C6-173D-4A46-9BA4-5119AF64DB64}" srcOrd="3" destOrd="0" parTransId="{CCCD879D-0878-4276-BBBF-ED7DC058AD7B}" sibTransId="{FE4AC76F-08FB-47BF-8FF3-FA756FFB418F}"/>
    <dgm:cxn modelId="{7445F5C5-C562-40BF-8F60-5C2851A8D8CD}" type="presOf" srcId="{83E65023-33D0-46DA-A1B3-7F0C7C8C046D}" destId="{7D987F92-7D35-4143-98F0-7F550C1854D0}" srcOrd="0" destOrd="0" presId="urn:microsoft.com/office/officeart/2005/8/layout/orgChart1"/>
    <dgm:cxn modelId="{7C233E83-937C-41D7-ADA8-A47FF1C4B2F0}" type="presOf" srcId="{B3CDC9F2-1FA6-4E0F-8439-B8268D9B8069}" destId="{F2BD23BC-2E0A-441B-BE28-E14725F51793}" srcOrd="0" destOrd="0" presId="urn:microsoft.com/office/officeart/2005/8/layout/orgChart1"/>
    <dgm:cxn modelId="{31EC4F2C-0040-4BE6-933C-F636C058D397}" type="presOf" srcId="{F29A0D9E-A4D4-4086-BF87-078907F654D3}" destId="{0061E253-07A5-4060-9D9C-063107019FC0}" srcOrd="1" destOrd="0" presId="urn:microsoft.com/office/officeart/2005/8/layout/orgChart1"/>
    <dgm:cxn modelId="{2242DF51-6F3D-46A4-A1A5-04BE8850E38B}" srcId="{83E65023-33D0-46DA-A1B3-7F0C7C8C046D}" destId="{232AA91C-A830-4893-AB0C-E0B807EEE6B2}" srcOrd="1" destOrd="0" parTransId="{1AEE5C21-8809-4BD3-BF4B-96F643A6442C}" sibTransId="{FAB4A523-7091-432C-A10F-E583BE39856A}"/>
    <dgm:cxn modelId="{D6BAF0E1-AE28-4DF8-9885-B29643077B62}" type="presOf" srcId="{5BCFE927-CDC4-4421-909F-E280F719A3A5}" destId="{A158FBDA-FE80-481D-A683-1087A6297DF7}" srcOrd="0" destOrd="0" presId="urn:microsoft.com/office/officeart/2005/8/layout/orgChart1"/>
    <dgm:cxn modelId="{4D108296-8FB2-427C-B04C-32978EED7D9A}" type="presOf" srcId="{B983738D-B6CD-4ACC-B021-5D6559383373}" destId="{1E0CCDDD-DA94-48AA-9AF2-605E42E813DB}" srcOrd="1" destOrd="0" presId="urn:microsoft.com/office/officeart/2005/8/layout/orgChart1"/>
    <dgm:cxn modelId="{C555D612-FD9E-4FAA-ADA4-B339A62C24FE}" type="presOf" srcId="{1AEE5C21-8809-4BD3-BF4B-96F643A6442C}" destId="{8126E7ED-1EFB-4DC7-B93C-A509EDCFECC6}" srcOrd="0" destOrd="0" presId="urn:microsoft.com/office/officeart/2005/8/layout/orgChart1"/>
    <dgm:cxn modelId="{9990CE20-CD65-4E97-9E00-1451F38FFCFD}" srcId="{563B9CF3-40AE-4F6D-9802-FBE29F2DB0FD}" destId="{B983738D-B6CD-4ACC-B021-5D6559383373}" srcOrd="4" destOrd="0" parTransId="{0C80A140-103B-41C0-9712-E50AB27044E3}" sibTransId="{7560B32A-7E95-48CB-8C6D-0F10B90600A1}"/>
    <dgm:cxn modelId="{36CFBC70-9C45-4709-BEC4-CB73E61D3D49}" type="presOf" srcId="{2FEE9ABB-9118-4F89-B57E-5FB3AE26A9DD}" destId="{DD9CCF90-B2E3-4925-9055-02B847306E59}" srcOrd="1" destOrd="0" presId="urn:microsoft.com/office/officeart/2005/8/layout/orgChart1"/>
    <dgm:cxn modelId="{2A8CC0EB-EDB6-48CF-BA1A-F07DAD226CE5}" type="presOf" srcId="{232AA91C-A830-4893-AB0C-E0B807EEE6B2}" destId="{5A19E98F-0F3A-4E09-AB65-E5F1DA066601}" srcOrd="1" destOrd="0" presId="urn:microsoft.com/office/officeart/2005/8/layout/orgChart1"/>
    <dgm:cxn modelId="{10987364-E5DA-4CF5-ACA6-46FDD22AB274}" type="presOf" srcId="{A4FDCB02-4C5E-4D69-833B-37E08536214A}" destId="{7AA3C3BF-7366-4C82-8833-2DCCDBBFBA6C}" srcOrd="0" destOrd="0" presId="urn:microsoft.com/office/officeart/2005/8/layout/orgChart1"/>
    <dgm:cxn modelId="{FB45830B-F272-4FBB-B771-A8FBF411135D}" type="presOf" srcId="{93ABD30C-0E7B-486F-A681-9A005A28D744}" destId="{6B26C1DA-C267-4CEE-A825-2498CB5CCDE4}" srcOrd="0" destOrd="0" presId="urn:microsoft.com/office/officeart/2005/8/layout/orgChart1"/>
    <dgm:cxn modelId="{DA2AF1B0-6F71-43B3-95B7-CDA5654AE0E3}" type="presOf" srcId="{27C0C58C-3A95-4427-952F-34ADD3E4CA9C}" destId="{5658B9D7-A9F2-4897-B0C6-17D9C45E1BD9}" srcOrd="1" destOrd="0" presId="urn:microsoft.com/office/officeart/2005/8/layout/orgChart1"/>
    <dgm:cxn modelId="{2DC5D7E2-9730-4B75-8227-EB18B157EEEA}" srcId="{B983738D-B6CD-4ACC-B021-5D6559383373}" destId="{BC412EB7-C7E5-4551-B509-CA54EA28D57E}" srcOrd="3" destOrd="0" parTransId="{F5AAD115-D470-4475-8607-D5E6FED1948F}" sibTransId="{2179CFA4-B746-49BD-B895-18B8AA8C993C}"/>
    <dgm:cxn modelId="{0606DEBD-A738-45F8-878E-22E1464A165A}" srcId="{B983738D-B6CD-4ACC-B021-5D6559383373}" destId="{2FEE9ABB-9118-4F89-B57E-5FB3AE26A9DD}" srcOrd="0" destOrd="0" parTransId="{053B73E8-8B63-4D84-B935-856163DE1EFC}" sibTransId="{F9266172-523F-4991-A3D1-6A0955532AA2}"/>
    <dgm:cxn modelId="{1650D255-EB0F-442E-A5FE-2C1D0C43863F}" type="presOf" srcId="{F4EA981A-F986-4877-BD25-5C14FE41D176}" destId="{0750D890-C529-4565-BAB3-D4A4004C9728}" srcOrd="0" destOrd="0" presId="urn:microsoft.com/office/officeart/2005/8/layout/orgChart1"/>
    <dgm:cxn modelId="{75AFB2F3-479B-494C-B247-2CE3D35FC60B}" srcId="{83E65023-33D0-46DA-A1B3-7F0C7C8C046D}" destId="{1E3C57A8-D11A-4464-B252-393BA62CA1A4}" srcOrd="6" destOrd="0" parTransId="{88907CE6-6462-4C5F-8943-6C7E5D76B19C}" sibTransId="{544D910C-A3DC-4303-885C-9D01D7F73DFF}"/>
    <dgm:cxn modelId="{0EAB2995-2328-43E6-8EBB-3766A0AB12BE}" type="presOf" srcId="{85F876EE-37BA-45E8-8766-D372D6B5A6B4}" destId="{B023BEAD-FFE1-4FE2-87DF-FBE8E5BE29A9}" srcOrd="0" destOrd="0" presId="urn:microsoft.com/office/officeart/2005/8/layout/orgChart1"/>
    <dgm:cxn modelId="{77659E87-AEC1-42E6-B1A6-0812FAE843CD}" type="presOf" srcId="{0C80A140-103B-41C0-9712-E50AB27044E3}" destId="{76881711-8B76-4157-8371-D2A005E257D7}" srcOrd="0" destOrd="0" presId="urn:microsoft.com/office/officeart/2005/8/layout/orgChart1"/>
    <dgm:cxn modelId="{7B0495A3-A137-4827-9401-8B66BE8E00C2}" srcId="{563B9CF3-40AE-4F6D-9802-FBE29F2DB0FD}" destId="{83E65023-33D0-46DA-A1B3-7F0C7C8C046D}" srcOrd="1" destOrd="0" parTransId="{5BCFE927-CDC4-4421-909F-E280F719A3A5}" sibTransId="{41873B5B-5F5A-4CF2-999E-5FE4C038B5D3}"/>
    <dgm:cxn modelId="{5A00D21D-E877-4810-BA5E-A1B906E862FB}" type="presOf" srcId="{4A273B54-5675-4A36-BC30-269F184B394E}" destId="{B2119018-1591-4A2B-916A-EAC928437B99}" srcOrd="1" destOrd="0" presId="urn:microsoft.com/office/officeart/2005/8/layout/orgChart1"/>
    <dgm:cxn modelId="{D74312D4-C05F-4B32-96BF-A89BD399860F}" type="presOf" srcId="{E9AADBDC-3898-4643-98BB-93A35F6F1C1F}" destId="{0A4B7152-A5C0-4304-B702-BC0C52C9EC39}" srcOrd="1" destOrd="0" presId="urn:microsoft.com/office/officeart/2005/8/layout/orgChart1"/>
    <dgm:cxn modelId="{CD60D114-1174-4F9F-AB50-CE068219C6B7}" srcId="{B983738D-B6CD-4ACC-B021-5D6559383373}" destId="{9D90A7A5-CCD4-4D01-BA9A-53F4E97656E6}" srcOrd="1" destOrd="0" parTransId="{7F261382-8D87-413A-8D05-DC35E9B459FF}" sibTransId="{07A0BBC8-C2A3-4D84-9311-D7818CBD37BF}"/>
    <dgm:cxn modelId="{6AF9E589-2734-404D-8CD6-A2A245EA95FD}" type="presOf" srcId="{3434C784-D2EB-4907-A577-1424C17A4231}" destId="{9233F8A3-3DD8-405A-B709-2177E2199FEB}" srcOrd="0" destOrd="0" presId="urn:microsoft.com/office/officeart/2005/8/layout/orgChart1"/>
    <dgm:cxn modelId="{535A4327-D873-44C6-9E51-55C9453FD4E1}" type="presOf" srcId="{CBD5489F-E4C0-487E-8E70-409B6544C7FE}" destId="{5FD6F4FB-DDB8-4ECF-B98C-0BEC42938CD3}" srcOrd="0" destOrd="0" presId="urn:microsoft.com/office/officeart/2005/8/layout/orgChart1"/>
    <dgm:cxn modelId="{A10F591D-4995-402B-8FE6-D58EFD4115C8}" srcId="{563B9CF3-40AE-4F6D-9802-FBE29F2DB0FD}" destId="{B8408C07-B965-420B-AA4F-EF7BF3626137}" srcOrd="3" destOrd="0" parTransId="{205FFF2B-3A41-4A88-A3BE-31B22C2574A7}" sibTransId="{03C46B23-7DCA-4218-9A55-43725D271667}"/>
    <dgm:cxn modelId="{743F7899-4BBB-4EEF-86C9-0967FD1E65A9}" srcId="{E9AADBDC-3898-4643-98BB-93A35F6F1C1F}" destId="{36F930DE-36A9-4BBF-B0E6-9FDFEF9E53E4}" srcOrd="1" destOrd="0" parTransId="{EB2D0AFA-7107-4A7F-B30A-85794C6D48A5}" sibTransId="{D3C4AB0A-4E1C-47C7-BEF5-32E8F3E7149D}"/>
    <dgm:cxn modelId="{7FA70E8C-EC3D-4FDF-9421-61C9D474C6FE}" type="presOf" srcId="{A0F550C9-0B7E-4467-B60C-2FE33DB848F1}" destId="{DE7B0CDF-331C-43D7-B14C-4D2214ECC84C}" srcOrd="0" destOrd="0" presId="urn:microsoft.com/office/officeart/2005/8/layout/orgChart1"/>
    <dgm:cxn modelId="{EFD6FE5F-A43F-4B35-8B32-88E6299931AB}" srcId="{B983738D-B6CD-4ACC-B021-5D6559383373}" destId="{4A08814D-C873-480C-BD28-7A65D53F71D8}" srcOrd="5" destOrd="0" parTransId="{143F3EEF-62D8-43AD-8063-BA1FD86AC836}" sibTransId="{129A8D46-961B-4A50-B8CF-A0116A842DB6}"/>
    <dgm:cxn modelId="{FDDB379F-82D8-4C22-8E3D-82105EA11278}" type="presOf" srcId="{9A7E722F-D005-476C-8D43-4076AB9F30B1}" destId="{9F604B41-DE7E-407E-92F7-E7B8863509DE}" srcOrd="1" destOrd="0" presId="urn:microsoft.com/office/officeart/2005/8/layout/orgChart1"/>
    <dgm:cxn modelId="{133C2F8B-2205-4D82-A49C-08BF37C9CA3D}" srcId="{563B9CF3-40AE-4F6D-9802-FBE29F2DB0FD}" destId="{E9AADBDC-3898-4643-98BB-93A35F6F1C1F}" srcOrd="2" destOrd="0" parTransId="{3CFDB6E9-11D5-4EF0-A84F-588AF277B995}" sibTransId="{F6738647-C183-4A57-A2B7-E23A6AB95EC2}"/>
    <dgm:cxn modelId="{F8702D5F-2E1C-433D-9974-2A7BCB79DF7C}" type="presOf" srcId="{B983738D-B6CD-4ACC-B021-5D6559383373}" destId="{C9A66C12-5161-47AC-809C-85074A4E7350}" srcOrd="0" destOrd="0" presId="urn:microsoft.com/office/officeart/2005/8/layout/orgChart1"/>
    <dgm:cxn modelId="{54AEC9C3-FCCD-40D9-AC49-6E99DEFE0C6D}" srcId="{83E65023-33D0-46DA-A1B3-7F0C7C8C046D}" destId="{4D9ED46B-69D1-47A5-8587-425F875E60C9}" srcOrd="0" destOrd="0" parTransId="{58994A76-1B27-43DF-B02F-100B15B3B104}" sibTransId="{22A69CCF-FD75-4E98-B318-DC8302FAB2C0}"/>
    <dgm:cxn modelId="{CD0AA65D-F5BD-44E7-954F-ACB04FBB67EC}" type="presOf" srcId="{8AFF9318-8DC2-4264-8170-0C61AAFD79FE}" destId="{C91CBDDB-C61F-488B-86C6-4EEFDF3ED038}" srcOrd="0" destOrd="0" presId="urn:microsoft.com/office/officeart/2005/8/layout/orgChart1"/>
    <dgm:cxn modelId="{061AA463-0D1D-4B2A-BCAD-198A5C011A98}" type="presOf" srcId="{70510394-ADAF-4017-9A71-0CDBF70C8053}" destId="{1FF9E9F1-4FED-413C-B9FB-C759F942D31F}" srcOrd="1" destOrd="0" presId="urn:microsoft.com/office/officeart/2005/8/layout/orgChart1"/>
    <dgm:cxn modelId="{AA6359FF-4F85-4ED4-8C88-2B1E5DA2435B}" srcId="{E9AADBDC-3898-4643-98BB-93A35F6F1C1F}" destId="{25DBDE9B-DA2B-4E29-B989-575DA86021B8}" srcOrd="0" destOrd="0" parTransId="{3434C784-D2EB-4907-A577-1424C17A4231}" sibTransId="{50EDEB7E-A84B-4457-B895-1CBBC66EB484}"/>
    <dgm:cxn modelId="{0DC06EC2-DFC1-4C19-97A0-876D37DF0DFF}" type="presOf" srcId="{DCA969C6-173D-4A46-9BA4-5119AF64DB64}" destId="{E93C2A34-A97C-4508-A88F-51D5DA31D8C2}" srcOrd="1" destOrd="0" presId="urn:microsoft.com/office/officeart/2005/8/layout/orgChart1"/>
    <dgm:cxn modelId="{E621B707-7D80-412A-BB61-97695FEA72BE}" type="presOf" srcId="{E13C7255-99C3-463C-88B3-944FDDEDDCC1}" destId="{81388B3A-C50A-4FAA-BF40-8230A03C9B9A}" srcOrd="1" destOrd="0" presId="urn:microsoft.com/office/officeart/2005/8/layout/orgChart1"/>
    <dgm:cxn modelId="{6401870B-13E0-4B24-A6CE-474A7865BAD1}" type="presOf" srcId="{3CFDB6E9-11D5-4EF0-A84F-588AF277B995}" destId="{D0B2D542-C665-4A27-AB65-BE2D43E07D73}" srcOrd="0" destOrd="0" presId="urn:microsoft.com/office/officeart/2005/8/layout/orgChart1"/>
    <dgm:cxn modelId="{03F55930-49D7-47E3-B7FA-E2200675176B}" type="presOf" srcId="{563B9CF3-40AE-4F6D-9802-FBE29F2DB0FD}" destId="{71995690-C90E-4D6E-B859-E011C699A051}" srcOrd="1" destOrd="0" presId="urn:microsoft.com/office/officeart/2005/8/layout/orgChart1"/>
    <dgm:cxn modelId="{2814F37C-D24A-44F6-A865-9CA9133E92C4}" srcId="{B983738D-B6CD-4ACC-B021-5D6559383373}" destId="{E13C7255-99C3-463C-88B3-944FDDEDDCC1}" srcOrd="2" destOrd="0" parTransId="{D9CCD712-DF0C-486C-9EAE-42146F1FF777}" sibTransId="{731F01EC-ADF1-4DB2-8C85-331B10078BC3}"/>
    <dgm:cxn modelId="{96403090-ADFE-4933-8146-28936E5B7B84}" type="presOf" srcId="{2536716E-9789-487C-BB4D-6AEC03913F78}" destId="{64E373CE-42B0-47C0-B6D5-3083549CC155}" srcOrd="0" destOrd="0" presId="urn:microsoft.com/office/officeart/2005/8/layout/orgChart1"/>
    <dgm:cxn modelId="{8EA6A007-C09F-4EA3-80FD-58D78B4B07BC}" type="presOf" srcId="{4CC3869D-EA05-4F15-ABEF-E876B4DF3A97}" destId="{C08C8186-7CE9-48AE-B41B-D881FD3C4D87}" srcOrd="1" destOrd="0" presId="urn:microsoft.com/office/officeart/2005/8/layout/orgChart1"/>
    <dgm:cxn modelId="{CDD15588-3419-4D6D-8596-246FCF88FC3B}" type="presOf" srcId="{205FFF2B-3A41-4A88-A3BE-31B22C2574A7}" destId="{D08577E6-9F61-4368-8C6C-6BFE825C8CCF}" srcOrd="0" destOrd="0" presId="urn:microsoft.com/office/officeart/2005/8/layout/orgChart1"/>
    <dgm:cxn modelId="{BCDF0AC8-41D5-4B20-BF89-C876DB77AA27}" type="presOf" srcId="{1ABE179A-0583-4343-B229-7613337F1F01}" destId="{4F5D1301-39C3-4858-B8EF-E38A066270C0}" srcOrd="0" destOrd="0" presId="urn:microsoft.com/office/officeart/2005/8/layout/orgChart1"/>
    <dgm:cxn modelId="{6AD3CF5A-10F3-453F-9365-B644F44C4A8C}" srcId="{27C0C58C-3A95-4427-952F-34ADD3E4CA9C}" destId="{1ABE179A-0583-4343-B229-7613337F1F01}" srcOrd="3" destOrd="0" parTransId="{A8EDCBF5-48EE-49F5-8B6F-59FB4A586749}" sibTransId="{DBF07675-A5B8-400A-9E2A-E3662E5E1631}"/>
    <dgm:cxn modelId="{43FE3CE9-B478-49D9-9811-0FE79570CFD0}" type="presOf" srcId="{36F930DE-36A9-4BBF-B0E6-9FDFEF9E53E4}" destId="{AD7D63B9-7467-4870-AB99-425C675F3C72}" srcOrd="1" destOrd="0" presId="urn:microsoft.com/office/officeart/2005/8/layout/orgChart1"/>
    <dgm:cxn modelId="{3764B511-AFA5-4FC8-9701-485FB811A130}" type="presOf" srcId="{74CFB57A-27E6-492C-AA1E-444AA012A6C4}" destId="{38F6A058-7E48-4D72-99DA-87A83BD6629F}" srcOrd="0" destOrd="0" presId="urn:microsoft.com/office/officeart/2005/8/layout/orgChart1"/>
    <dgm:cxn modelId="{19D485BA-3A07-4762-8298-37C38471E62F}" srcId="{27C0C58C-3A95-4427-952F-34ADD3E4CA9C}" destId="{8AFF9318-8DC2-4264-8170-0C61AAFD79FE}" srcOrd="2" destOrd="0" parTransId="{2536716E-9789-487C-BB4D-6AEC03913F78}" sibTransId="{666101ED-8211-4982-9264-B193DFA3F7F5}"/>
    <dgm:cxn modelId="{20ED3379-61CC-40B5-95B8-BB0C2CEB5F35}" type="presOf" srcId="{44283B74-6908-4E7F-9B11-0AFB346BE0A4}" destId="{A9406A68-DF67-4473-ACC1-B0C98CF9EF57}" srcOrd="1" destOrd="0" presId="urn:microsoft.com/office/officeart/2005/8/layout/orgChart1"/>
    <dgm:cxn modelId="{34EB9ADB-A4E4-4145-B7B6-ADE630F3C939}" type="presOf" srcId="{4367FA1D-0ED9-4CD2-A69D-AB32E669494E}" destId="{07B10B61-0933-49D5-9F06-7E2744C55194}" srcOrd="0" destOrd="0" presId="urn:microsoft.com/office/officeart/2005/8/layout/orgChart1"/>
    <dgm:cxn modelId="{2C8C894A-A07D-4904-95D1-C54BA9177EDD}" srcId="{E9AADBDC-3898-4643-98BB-93A35F6F1C1F}" destId="{F29A0D9E-A4D4-4086-BF87-078907F654D3}" srcOrd="2" destOrd="0" parTransId="{85F876EE-37BA-45E8-8766-D372D6B5A6B4}" sibTransId="{DD5D082F-12EE-4E5C-86FC-FF114B8B3083}"/>
    <dgm:cxn modelId="{D1A7EC92-5851-4107-AF13-49D6AE58B36F}" type="presOf" srcId="{B8408C07-B965-420B-AA4F-EF7BF3626137}" destId="{3529AC6F-214E-4BA5-9ABF-2AAB4904DB2A}" srcOrd="1" destOrd="0" presId="urn:microsoft.com/office/officeart/2005/8/layout/orgChart1"/>
    <dgm:cxn modelId="{86A4D385-2F22-4BFF-931D-859B87D5FC92}" srcId="{83E65023-33D0-46DA-A1B3-7F0C7C8C046D}" destId="{70510394-ADAF-4017-9A71-0CDBF70C8053}" srcOrd="2" destOrd="0" parTransId="{39A6586C-73CD-4D64-A1FA-DFF0D99B7D4E}" sibTransId="{D94AC2A3-737F-46A2-AC99-71A23D9C4826}"/>
    <dgm:cxn modelId="{9E42F9B0-FA3B-424E-96E5-FB6842016EA0}" srcId="{27C0C58C-3A95-4427-952F-34ADD3E4CA9C}" destId="{55C81A84-977C-474F-9898-E3299C72446E}" srcOrd="5" destOrd="0" parTransId="{85EB6D14-3548-49D4-9B2D-95B6FE3E896E}" sibTransId="{9018FE6B-7938-4F58-8E7C-8780258137CC}"/>
    <dgm:cxn modelId="{515AE9F1-1175-407F-B7C6-518E270AA049}" type="presOf" srcId="{B5C8BB55-6EF8-44D3-999A-69265F0E1FBC}" destId="{1B9B1158-72D8-4646-84DD-EF716B116A0C}" srcOrd="0" destOrd="0" presId="urn:microsoft.com/office/officeart/2005/8/layout/orgChart1"/>
    <dgm:cxn modelId="{59AC1723-5BCA-4C08-A98B-FA0FE3564131}" type="presOf" srcId="{563B9CF3-40AE-4F6D-9802-FBE29F2DB0FD}" destId="{A9E37B58-C84D-4333-9EB6-FEA63F667BD6}" srcOrd="0" destOrd="0" presId="urn:microsoft.com/office/officeart/2005/8/layout/orgChart1"/>
    <dgm:cxn modelId="{33CB027B-CDEA-49C1-A562-89F113A4B0A5}" type="presOf" srcId="{A8A7589E-3DC7-45D1-8F72-BB5B052E3F69}" destId="{8796C872-A8EA-4958-8B94-1C7ED8D2C1E3}" srcOrd="1" destOrd="0" presId="urn:microsoft.com/office/officeart/2005/8/layout/orgChart1"/>
    <dgm:cxn modelId="{8107D279-02E8-4FBE-B625-D79A13CB4C4D}" type="presOf" srcId="{8AFF9318-8DC2-4264-8170-0C61AAFD79FE}" destId="{525B76B5-0D3D-477C-878E-708A48609BDE}" srcOrd="1" destOrd="0" presId="urn:microsoft.com/office/officeart/2005/8/layout/orgChart1"/>
    <dgm:cxn modelId="{681BBB53-D279-4AE5-B18A-1A8C27FE9848}" type="presOf" srcId="{4CC3869D-EA05-4F15-ABEF-E876B4DF3A97}" destId="{0E5ADF65-7528-4E6B-A814-7FD4CDCBAEB0}" srcOrd="0" destOrd="0" presId="urn:microsoft.com/office/officeart/2005/8/layout/orgChart1"/>
    <dgm:cxn modelId="{2F5E140B-076E-4131-834F-B0D47ECC13A9}" type="presOf" srcId="{698692B6-1357-4EE6-9048-DE912A24D330}" destId="{9E15D32B-A159-4B43-91E5-E167856E33BF}" srcOrd="0" destOrd="0" presId="urn:microsoft.com/office/officeart/2005/8/layout/orgChart1"/>
    <dgm:cxn modelId="{842143B8-D3D8-4656-8A4C-902551F86EDD}" type="presOf" srcId="{CCCD879D-0878-4276-BBBF-ED7DC058AD7B}" destId="{3C19CDE8-1619-435F-BE8B-2AB153E85879}" srcOrd="0" destOrd="0" presId="urn:microsoft.com/office/officeart/2005/8/layout/orgChart1"/>
    <dgm:cxn modelId="{CC78A264-8082-4FD9-AEC4-D50E29BF73F4}" type="presOf" srcId="{9D90A7A5-CCD4-4D01-BA9A-53F4E97656E6}" destId="{4803F6AC-2159-4596-8F72-02FB462BBC70}" srcOrd="1" destOrd="0" presId="urn:microsoft.com/office/officeart/2005/8/layout/orgChart1"/>
    <dgm:cxn modelId="{0818A078-FEEF-45F0-A0FD-D136E43CB11E}" type="presOf" srcId="{B3CDC9F2-1FA6-4E0F-8439-B8268D9B8069}" destId="{96311BE1-6806-4936-A91A-7E842B15BE23}" srcOrd="1" destOrd="0" presId="urn:microsoft.com/office/officeart/2005/8/layout/orgChart1"/>
    <dgm:cxn modelId="{D5BEF9F0-CA14-4245-AF76-AA1EDD37020C}" srcId="{27C0C58C-3A95-4427-952F-34ADD3E4CA9C}" destId="{A8A7589E-3DC7-45D1-8F72-BB5B052E3F69}" srcOrd="1" destOrd="0" parTransId="{A4FDCB02-4C5E-4D69-833B-37E08536214A}" sibTransId="{8F84F8C6-91B2-45A5-90E5-6C25B3D5C642}"/>
    <dgm:cxn modelId="{7A4FE54F-F378-4B74-8FFD-3F57BDE51297}" type="presOf" srcId="{F5AAD115-D470-4475-8607-D5E6FED1948F}" destId="{47F1120A-A083-49E8-9E5C-CE1F6413F9BB}" srcOrd="0" destOrd="0" presId="urn:microsoft.com/office/officeart/2005/8/layout/orgChart1"/>
    <dgm:cxn modelId="{EF3C642D-0C07-4370-BAF5-C1B0A720DC23}" type="presOf" srcId="{8CE32C3B-0D8F-4350-95E0-06E2647F48A5}" destId="{1A8B11D2-3342-43F5-B281-F26FA4BDE16F}" srcOrd="0" destOrd="0" presId="urn:microsoft.com/office/officeart/2005/8/layout/orgChart1"/>
    <dgm:cxn modelId="{F052D204-3490-475C-ABCD-A2393304D82C}" type="presOf" srcId="{A8EDCBF5-48EE-49F5-8B6F-59FB4A586749}" destId="{074B3E2F-8466-4A4D-AA59-72F2C06F9895}" srcOrd="0" destOrd="0" presId="urn:microsoft.com/office/officeart/2005/8/layout/orgChart1"/>
    <dgm:cxn modelId="{B0B208E4-D0C9-4E0B-91EB-A10642611305}" type="presOf" srcId="{27C0C58C-3A95-4427-952F-34ADD3E4CA9C}" destId="{5C9EBB69-F299-433C-9832-400183B089DB}" srcOrd="0" destOrd="0" presId="urn:microsoft.com/office/officeart/2005/8/layout/orgChart1"/>
    <dgm:cxn modelId="{BC19854A-2964-4C33-AB2E-7A1C88E05BBE}" type="presOf" srcId="{E9AADBDC-3898-4643-98BB-93A35F6F1C1F}" destId="{20A39BFD-AC94-4833-AAAF-948F81E52002}" srcOrd="0" destOrd="0" presId="urn:microsoft.com/office/officeart/2005/8/layout/orgChart1"/>
    <dgm:cxn modelId="{9932EF14-14C8-4482-A833-D47C8D73815C}" type="presOf" srcId="{B8408C07-B965-420B-AA4F-EF7BF3626137}" destId="{82EB6CB6-BC4E-4D4C-A10D-B3680BF7A7D2}" srcOrd="0" destOrd="0" presId="urn:microsoft.com/office/officeart/2005/8/layout/orgChart1"/>
    <dgm:cxn modelId="{9DE345E8-7B65-4BD9-B17F-404E5A0D55C1}" type="presOf" srcId="{55C81A84-977C-474F-9898-E3299C72446E}" destId="{C5765A06-B728-4F1F-BEA5-C8B842B28AB3}" srcOrd="1" destOrd="0" presId="urn:microsoft.com/office/officeart/2005/8/layout/orgChart1"/>
    <dgm:cxn modelId="{F9C52DDB-D374-4354-82C2-F593679FC980}" type="presOf" srcId="{8022EEFC-19A3-4AF2-888C-321CE5B24E4C}" destId="{2AC042F1-67EC-4815-A747-C27DA26D9618}" srcOrd="0" destOrd="0" presId="urn:microsoft.com/office/officeart/2005/8/layout/orgChart1"/>
    <dgm:cxn modelId="{664EEA2D-319C-4227-BB12-02AA2BB3F67C}" type="presOf" srcId="{1ABE179A-0583-4343-B229-7613337F1F01}" destId="{12C49A15-D18B-47B3-9CA0-B40898F9CD50}" srcOrd="1" destOrd="0" presId="urn:microsoft.com/office/officeart/2005/8/layout/orgChart1"/>
    <dgm:cxn modelId="{10E49E12-EC81-45DE-BBFD-B149097770C7}" type="presOf" srcId="{1E3C57A8-D11A-4464-B252-393BA62CA1A4}" destId="{0A7ECC2D-925A-4A5A-983B-44AA6F0DAF1D}" srcOrd="1" destOrd="0" presId="urn:microsoft.com/office/officeart/2005/8/layout/orgChart1"/>
    <dgm:cxn modelId="{94DE8F5B-8E30-47E9-B2A8-72540067765E}" type="presOf" srcId="{F2D49BD6-65DF-42A1-872F-280CCBA4DCCB}" destId="{72ADB7DE-FFDE-43B9-98C0-716921DBE890}" srcOrd="0" destOrd="0" presId="urn:microsoft.com/office/officeart/2005/8/layout/orgChart1"/>
    <dgm:cxn modelId="{175E4C56-657B-454D-83A8-CC29DE67C061}" type="presOf" srcId="{698692B6-1357-4EE6-9048-DE912A24D330}" destId="{445AE659-5C5A-488F-9D84-8716842FB809}" srcOrd="1" destOrd="0" presId="urn:microsoft.com/office/officeart/2005/8/layout/orgChart1"/>
    <dgm:cxn modelId="{AE18B602-7956-41A1-B480-10C9266477EF}" type="presOf" srcId="{F29A0D9E-A4D4-4086-BF87-078907F654D3}" destId="{F47BE956-BC37-4E68-8509-835266EF4509}" srcOrd="0" destOrd="0" presId="urn:microsoft.com/office/officeart/2005/8/layout/orgChart1"/>
    <dgm:cxn modelId="{E262D2DD-FF85-49C4-B13E-BE1172AB56AE}" srcId="{83E65023-33D0-46DA-A1B3-7F0C7C8C046D}" destId="{4CC3869D-EA05-4F15-ABEF-E876B4DF3A97}" srcOrd="4" destOrd="0" parTransId="{60A8C610-33C6-4C13-A76B-645F44A3B723}" sibTransId="{062AB4E3-8430-4023-A667-0AA14B259536}"/>
    <dgm:cxn modelId="{FE8F4B10-0407-4D90-A2C1-AE98B0BC0CA0}" type="presOf" srcId="{232AA91C-A830-4893-AB0C-E0B807EEE6B2}" destId="{95060CD5-E72B-43E3-AE00-28ED9DE85B01}" srcOrd="0" destOrd="0" presId="urn:microsoft.com/office/officeart/2005/8/layout/orgChart1"/>
    <dgm:cxn modelId="{B010FD7D-E162-4CF9-9069-010BD6C211A6}" type="presOf" srcId="{E13C7255-99C3-463C-88B3-944FDDEDDCC1}" destId="{F470B49C-FBB9-45ED-A78A-B1F71A6D76AD}" srcOrd="0" destOrd="0" presId="urn:microsoft.com/office/officeart/2005/8/layout/orgChart1"/>
    <dgm:cxn modelId="{5B804615-17A7-4BD2-9C4A-8FFCEDCD7E5F}" type="presOf" srcId="{BC412EB7-C7E5-4551-B509-CA54EA28D57E}" destId="{20731877-7187-429D-B3A8-7DECDA5070FE}" srcOrd="0" destOrd="0" presId="urn:microsoft.com/office/officeart/2005/8/layout/orgChart1"/>
    <dgm:cxn modelId="{F7372397-A7C4-4DC6-8190-17893F54BED6}" type="presOf" srcId="{25DBDE9B-DA2B-4E29-B989-575DA86021B8}" destId="{F0663EE5-7143-42B2-A6AE-F82AA7D88908}" srcOrd="0" destOrd="0" presId="urn:microsoft.com/office/officeart/2005/8/layout/orgChart1"/>
    <dgm:cxn modelId="{A352E1D0-F98A-4FBD-A72C-EF66443C9CDA}" type="presOf" srcId="{2FEE9ABB-9118-4F89-B57E-5FB3AE26A9DD}" destId="{C6932264-56D3-4DF9-8D2C-021A743567DD}" srcOrd="0" destOrd="0" presId="urn:microsoft.com/office/officeart/2005/8/layout/orgChart1"/>
    <dgm:cxn modelId="{774CD719-1FF7-4517-B4C8-7EE2B95395A0}" type="presOf" srcId="{60A8C610-33C6-4C13-A76B-645F44A3B723}" destId="{BA812832-9151-4475-AEEE-997AAEA180DD}" srcOrd="0" destOrd="0" presId="urn:microsoft.com/office/officeart/2005/8/layout/orgChart1"/>
    <dgm:cxn modelId="{34558547-0203-4A64-A2D4-8F5FDC5C2F3A}" type="presOf" srcId="{44283B74-6908-4E7F-9B11-0AFB346BE0A4}" destId="{93FCE660-DDC3-4AB5-B916-99CEE63A83BE}" srcOrd="0" destOrd="0" presId="urn:microsoft.com/office/officeart/2005/8/layout/orgChart1"/>
    <dgm:cxn modelId="{B3FB6EB3-D4D8-4D9B-B249-2F836933D575}" type="presOf" srcId="{25DBDE9B-DA2B-4E29-B989-575DA86021B8}" destId="{AE4351CA-69DC-4BA0-AB6C-9CE1DF3BD1D6}" srcOrd="1" destOrd="0" presId="urn:microsoft.com/office/officeart/2005/8/layout/orgChart1"/>
    <dgm:cxn modelId="{283E295D-081C-4040-8A51-2B21982470D6}" srcId="{B983738D-B6CD-4ACC-B021-5D6559383373}" destId="{44283B74-6908-4E7F-9B11-0AFB346BE0A4}" srcOrd="6" destOrd="0" parTransId="{6C962E12-A7E7-4DBA-B1EE-60065B1DDA80}" sibTransId="{E875A126-A25B-4CD6-A40C-FEDBC81D9ECC}"/>
    <dgm:cxn modelId="{0F4674F9-D005-40C9-B531-F221C97655CF}" srcId="{27C0C58C-3A95-4427-952F-34ADD3E4CA9C}" destId="{9A7E722F-D005-476C-8D43-4076AB9F30B1}" srcOrd="0" destOrd="0" parTransId="{F2D49BD6-65DF-42A1-872F-280CCBA4DCCB}" sibTransId="{E9B0E5CE-4B6A-49EA-81F0-70936ACBEAC6}"/>
    <dgm:cxn modelId="{018407D8-84A5-4AA9-9A4E-F8FDF405B9B7}" type="presOf" srcId="{DCA969C6-173D-4A46-9BA4-5119AF64DB64}" destId="{356B3328-D764-40AC-8224-7C581170E4AA}" srcOrd="0" destOrd="0" presId="urn:microsoft.com/office/officeart/2005/8/layout/orgChart1"/>
    <dgm:cxn modelId="{AD25D300-85AA-4A23-8968-4F6C5FF2D19F}" type="presOf" srcId="{9D90A7A5-CCD4-4D01-BA9A-53F4E97656E6}" destId="{699B182D-F671-424A-9A63-23C7C7B4D8F7}" srcOrd="0" destOrd="0" presId="urn:microsoft.com/office/officeart/2005/8/layout/orgChart1"/>
    <dgm:cxn modelId="{F4711657-0C97-455D-BB97-F29F5F4E5246}" type="presOf" srcId="{4D9ED46B-69D1-47A5-8587-425F875E60C9}" destId="{7DE978DE-FDD4-4585-A148-67512926481F}" srcOrd="0" destOrd="0" presId="urn:microsoft.com/office/officeart/2005/8/layout/orgChart1"/>
    <dgm:cxn modelId="{7D96511F-0A0A-47F8-AC61-DF93B28A8DD5}" type="presOf" srcId="{8CE32C3B-0D8F-4350-95E0-06E2647F48A5}" destId="{B991F8E7-E96B-4D05-AE80-B5FE9647EED7}" srcOrd="1" destOrd="0" presId="urn:microsoft.com/office/officeart/2005/8/layout/orgChart1"/>
    <dgm:cxn modelId="{8A65B98B-160B-4BBA-B57D-BE2EDF8D11CF}" srcId="{B8408C07-B965-420B-AA4F-EF7BF3626137}" destId="{F4EA981A-F986-4877-BD25-5C14FE41D176}" srcOrd="0" destOrd="0" parTransId="{259B2E52-E7E2-4233-88B2-F72E854BF241}" sibTransId="{1F6D5CE7-832A-4E64-B338-FC127EF3F3A6}"/>
    <dgm:cxn modelId="{0A1AF2DC-6B77-4744-80B0-5581684FCB6E}" type="presOf" srcId="{70510394-ADAF-4017-9A71-0CDBF70C8053}" destId="{175ADE88-AD71-4BAF-A40D-557E80A72AF6}" srcOrd="0" destOrd="0" presId="urn:microsoft.com/office/officeart/2005/8/layout/orgChart1"/>
    <dgm:cxn modelId="{3943BC6B-5C5B-4581-8395-D4C93929095A}" type="presParOf" srcId="{2AC042F1-67EC-4815-A747-C27DA26D9618}" destId="{FB279467-F3D0-4A2A-9DFD-7DF66D00DCAB}" srcOrd="0" destOrd="0" presId="urn:microsoft.com/office/officeart/2005/8/layout/orgChart1"/>
    <dgm:cxn modelId="{671DE108-10CB-4D44-B0A0-7B24F8D01E2E}" type="presParOf" srcId="{FB279467-F3D0-4A2A-9DFD-7DF66D00DCAB}" destId="{EA635651-E5EE-4B65-A430-C8E1B4EEAABF}" srcOrd="0" destOrd="0" presId="urn:microsoft.com/office/officeart/2005/8/layout/orgChart1"/>
    <dgm:cxn modelId="{0EA1319F-5C3D-44A2-8830-B01A6AA21C17}" type="presParOf" srcId="{EA635651-E5EE-4B65-A430-C8E1B4EEAABF}" destId="{A9E37B58-C84D-4333-9EB6-FEA63F667BD6}" srcOrd="0" destOrd="0" presId="urn:microsoft.com/office/officeart/2005/8/layout/orgChart1"/>
    <dgm:cxn modelId="{560E15AA-8226-4BDD-9FC4-F7167DD53588}" type="presParOf" srcId="{EA635651-E5EE-4B65-A430-C8E1B4EEAABF}" destId="{71995690-C90E-4D6E-B859-E011C699A051}" srcOrd="1" destOrd="0" presId="urn:microsoft.com/office/officeart/2005/8/layout/orgChart1"/>
    <dgm:cxn modelId="{74AD963A-B0FE-487A-BC0F-629FB3A6E78B}" type="presParOf" srcId="{FB279467-F3D0-4A2A-9DFD-7DF66D00DCAB}" destId="{066E69C0-C6CF-4B2F-9503-59BB14177765}" srcOrd="1" destOrd="0" presId="urn:microsoft.com/office/officeart/2005/8/layout/orgChart1"/>
    <dgm:cxn modelId="{D4DC1414-E0DA-4A9A-92AE-D93D658B7BF6}" type="presParOf" srcId="{066E69C0-C6CF-4B2F-9503-59BB14177765}" destId="{DE7B0CDF-331C-43D7-B14C-4D2214ECC84C}" srcOrd="0" destOrd="0" presId="urn:microsoft.com/office/officeart/2005/8/layout/orgChart1"/>
    <dgm:cxn modelId="{976C2488-8737-4883-836A-46E4D09F7981}" type="presParOf" srcId="{066E69C0-C6CF-4B2F-9503-59BB14177765}" destId="{E95E3131-A08A-43F9-AFEC-504F1171E205}" srcOrd="1" destOrd="0" presId="urn:microsoft.com/office/officeart/2005/8/layout/orgChart1"/>
    <dgm:cxn modelId="{D0DF128A-FEC6-4533-BAFF-D0BDBC0344D4}" type="presParOf" srcId="{E95E3131-A08A-43F9-AFEC-504F1171E205}" destId="{EFC54E5C-7C6E-422C-87D3-57DFC09957EE}" srcOrd="0" destOrd="0" presId="urn:microsoft.com/office/officeart/2005/8/layout/orgChart1"/>
    <dgm:cxn modelId="{1756E9BD-37E9-4236-B044-AADB6169E826}" type="presParOf" srcId="{EFC54E5C-7C6E-422C-87D3-57DFC09957EE}" destId="{5C9EBB69-F299-433C-9832-400183B089DB}" srcOrd="0" destOrd="0" presId="urn:microsoft.com/office/officeart/2005/8/layout/orgChart1"/>
    <dgm:cxn modelId="{A15E661E-A68A-4C00-826C-4610ABE60E26}" type="presParOf" srcId="{EFC54E5C-7C6E-422C-87D3-57DFC09957EE}" destId="{5658B9D7-A9F2-4897-B0C6-17D9C45E1BD9}" srcOrd="1" destOrd="0" presId="urn:microsoft.com/office/officeart/2005/8/layout/orgChart1"/>
    <dgm:cxn modelId="{0A802714-BAF8-4CE1-A22E-770AF4E13F34}" type="presParOf" srcId="{E95E3131-A08A-43F9-AFEC-504F1171E205}" destId="{3920BFA3-AC5C-4424-ACD7-7E148C18359E}" srcOrd="1" destOrd="0" presId="urn:microsoft.com/office/officeart/2005/8/layout/orgChart1"/>
    <dgm:cxn modelId="{AE822799-425A-404E-9AD4-70444EF6C8EA}" type="presParOf" srcId="{3920BFA3-AC5C-4424-ACD7-7E148C18359E}" destId="{72ADB7DE-FFDE-43B9-98C0-716921DBE890}" srcOrd="0" destOrd="0" presId="urn:microsoft.com/office/officeart/2005/8/layout/orgChart1"/>
    <dgm:cxn modelId="{2D43A209-03B9-43C2-95BF-FB1A48997E77}" type="presParOf" srcId="{3920BFA3-AC5C-4424-ACD7-7E148C18359E}" destId="{E8072A26-277D-405E-9401-0A1FDF34E5D4}" srcOrd="1" destOrd="0" presId="urn:microsoft.com/office/officeart/2005/8/layout/orgChart1"/>
    <dgm:cxn modelId="{BF4B2F82-E10B-4FE7-B975-E675A0EE05B2}" type="presParOf" srcId="{E8072A26-277D-405E-9401-0A1FDF34E5D4}" destId="{27EF17A1-D922-409F-996E-C9E02B5875EB}" srcOrd="0" destOrd="0" presId="urn:microsoft.com/office/officeart/2005/8/layout/orgChart1"/>
    <dgm:cxn modelId="{17F7E72C-6AC8-4FB6-AD8F-CF7132ABC2D5}" type="presParOf" srcId="{27EF17A1-D922-409F-996E-C9E02B5875EB}" destId="{EC6C2DB6-0354-41F7-B81C-792F0FA9A4EE}" srcOrd="0" destOrd="0" presId="urn:microsoft.com/office/officeart/2005/8/layout/orgChart1"/>
    <dgm:cxn modelId="{C464C60E-7B46-42F2-9237-88A1646622BE}" type="presParOf" srcId="{27EF17A1-D922-409F-996E-C9E02B5875EB}" destId="{9F604B41-DE7E-407E-92F7-E7B8863509DE}" srcOrd="1" destOrd="0" presId="urn:microsoft.com/office/officeart/2005/8/layout/orgChart1"/>
    <dgm:cxn modelId="{FDA25057-88FE-4547-8D15-B383312C261A}" type="presParOf" srcId="{E8072A26-277D-405E-9401-0A1FDF34E5D4}" destId="{6B1B8A2D-6C96-402C-A168-3E6AD553B535}" srcOrd="1" destOrd="0" presId="urn:microsoft.com/office/officeart/2005/8/layout/orgChart1"/>
    <dgm:cxn modelId="{D9F78533-1838-416F-A517-31E0FFE8B283}" type="presParOf" srcId="{E8072A26-277D-405E-9401-0A1FDF34E5D4}" destId="{70FA8FA6-36C6-4FE0-B3C4-A8596AFC4EDF}" srcOrd="2" destOrd="0" presId="urn:microsoft.com/office/officeart/2005/8/layout/orgChart1"/>
    <dgm:cxn modelId="{C3314EEA-B2DB-4C30-AC82-9F31CFA4F592}" type="presParOf" srcId="{3920BFA3-AC5C-4424-ACD7-7E148C18359E}" destId="{7AA3C3BF-7366-4C82-8833-2DCCDBBFBA6C}" srcOrd="2" destOrd="0" presId="urn:microsoft.com/office/officeart/2005/8/layout/orgChart1"/>
    <dgm:cxn modelId="{03E74F96-DB1B-4352-BEF7-E50B37A035A3}" type="presParOf" srcId="{3920BFA3-AC5C-4424-ACD7-7E148C18359E}" destId="{4DB7F4F7-B590-4810-AFCD-926FDA6D38D2}" srcOrd="3" destOrd="0" presId="urn:microsoft.com/office/officeart/2005/8/layout/orgChart1"/>
    <dgm:cxn modelId="{0B11E45B-307D-4C17-B11C-43CEBF276141}" type="presParOf" srcId="{4DB7F4F7-B590-4810-AFCD-926FDA6D38D2}" destId="{F997AD31-44BF-407F-82C8-B18CE0D7FD2C}" srcOrd="0" destOrd="0" presId="urn:microsoft.com/office/officeart/2005/8/layout/orgChart1"/>
    <dgm:cxn modelId="{618EA0E5-6D7E-4EA9-97A5-1B0AFD61D3FF}" type="presParOf" srcId="{F997AD31-44BF-407F-82C8-B18CE0D7FD2C}" destId="{CF73B623-D36E-4A4E-8B66-62BC3E50EC0C}" srcOrd="0" destOrd="0" presId="urn:microsoft.com/office/officeart/2005/8/layout/orgChart1"/>
    <dgm:cxn modelId="{6ABF787D-6764-4561-B7F7-B53F51E16DEA}" type="presParOf" srcId="{F997AD31-44BF-407F-82C8-B18CE0D7FD2C}" destId="{8796C872-A8EA-4958-8B94-1C7ED8D2C1E3}" srcOrd="1" destOrd="0" presId="urn:microsoft.com/office/officeart/2005/8/layout/orgChart1"/>
    <dgm:cxn modelId="{41E31FC3-B9D2-4BBD-80E1-731A89A31806}" type="presParOf" srcId="{4DB7F4F7-B590-4810-AFCD-926FDA6D38D2}" destId="{8247ED97-294F-4CED-A2D7-172130BF8306}" srcOrd="1" destOrd="0" presId="urn:microsoft.com/office/officeart/2005/8/layout/orgChart1"/>
    <dgm:cxn modelId="{559FDE07-C563-479B-99B9-0A168EB6CAA2}" type="presParOf" srcId="{4DB7F4F7-B590-4810-AFCD-926FDA6D38D2}" destId="{BD0FFB1E-CC85-40D5-9579-426945FCD951}" srcOrd="2" destOrd="0" presId="urn:microsoft.com/office/officeart/2005/8/layout/orgChart1"/>
    <dgm:cxn modelId="{6E73A210-5E57-46B3-A42F-596BA328DBC8}" type="presParOf" srcId="{3920BFA3-AC5C-4424-ACD7-7E148C18359E}" destId="{64E373CE-42B0-47C0-B6D5-3083549CC155}" srcOrd="4" destOrd="0" presId="urn:microsoft.com/office/officeart/2005/8/layout/orgChart1"/>
    <dgm:cxn modelId="{226D31EC-5807-45A2-95A2-73B308C26C37}" type="presParOf" srcId="{3920BFA3-AC5C-4424-ACD7-7E148C18359E}" destId="{B2DE522B-C279-4F9A-8567-5E139FFF9E79}" srcOrd="5" destOrd="0" presId="urn:microsoft.com/office/officeart/2005/8/layout/orgChart1"/>
    <dgm:cxn modelId="{4016E21A-C797-4104-A57E-F8F053BB89E7}" type="presParOf" srcId="{B2DE522B-C279-4F9A-8567-5E139FFF9E79}" destId="{D9C66C32-12B4-4491-ABA3-34335757DC65}" srcOrd="0" destOrd="0" presId="urn:microsoft.com/office/officeart/2005/8/layout/orgChart1"/>
    <dgm:cxn modelId="{F9BBC4F6-40E5-43BB-A854-F947DFF2D470}" type="presParOf" srcId="{D9C66C32-12B4-4491-ABA3-34335757DC65}" destId="{C91CBDDB-C61F-488B-86C6-4EEFDF3ED038}" srcOrd="0" destOrd="0" presId="urn:microsoft.com/office/officeart/2005/8/layout/orgChart1"/>
    <dgm:cxn modelId="{45670077-B6A2-43BA-A090-309DB7DCDA74}" type="presParOf" srcId="{D9C66C32-12B4-4491-ABA3-34335757DC65}" destId="{525B76B5-0D3D-477C-878E-708A48609BDE}" srcOrd="1" destOrd="0" presId="urn:microsoft.com/office/officeart/2005/8/layout/orgChart1"/>
    <dgm:cxn modelId="{00ADAA5D-C904-4A23-9E59-0DBAC68F6FE5}" type="presParOf" srcId="{B2DE522B-C279-4F9A-8567-5E139FFF9E79}" destId="{1D24CB5B-0B33-42B2-BE9D-B19A07219F23}" srcOrd="1" destOrd="0" presId="urn:microsoft.com/office/officeart/2005/8/layout/orgChart1"/>
    <dgm:cxn modelId="{3B6AE1C1-342F-45B6-8D1A-C8BED8DC4116}" type="presParOf" srcId="{B2DE522B-C279-4F9A-8567-5E139FFF9E79}" destId="{DA442CD6-0426-4B98-A495-C55DA5A51AA4}" srcOrd="2" destOrd="0" presId="urn:microsoft.com/office/officeart/2005/8/layout/orgChart1"/>
    <dgm:cxn modelId="{7151B233-B401-4134-8107-2F3A642A04FE}" type="presParOf" srcId="{3920BFA3-AC5C-4424-ACD7-7E148C18359E}" destId="{074B3E2F-8466-4A4D-AA59-72F2C06F9895}" srcOrd="6" destOrd="0" presId="urn:microsoft.com/office/officeart/2005/8/layout/orgChart1"/>
    <dgm:cxn modelId="{50767B82-DF96-43DB-98F9-22526F3899DE}" type="presParOf" srcId="{3920BFA3-AC5C-4424-ACD7-7E148C18359E}" destId="{DF2F653D-344D-4FB8-9BFE-4632037A3E7B}" srcOrd="7" destOrd="0" presId="urn:microsoft.com/office/officeart/2005/8/layout/orgChart1"/>
    <dgm:cxn modelId="{0BD12E68-8079-4C7B-95F0-97A884AA35F9}" type="presParOf" srcId="{DF2F653D-344D-4FB8-9BFE-4632037A3E7B}" destId="{3B7E9630-24E8-4128-BFD5-188170612569}" srcOrd="0" destOrd="0" presId="urn:microsoft.com/office/officeart/2005/8/layout/orgChart1"/>
    <dgm:cxn modelId="{070CD1CC-38E8-4E44-8BA3-93F5C4B9D47A}" type="presParOf" srcId="{3B7E9630-24E8-4128-BFD5-188170612569}" destId="{4F5D1301-39C3-4858-B8EF-E38A066270C0}" srcOrd="0" destOrd="0" presId="urn:microsoft.com/office/officeart/2005/8/layout/orgChart1"/>
    <dgm:cxn modelId="{4FF29E0B-A32A-4839-99DE-EB337BFB07F4}" type="presParOf" srcId="{3B7E9630-24E8-4128-BFD5-188170612569}" destId="{12C49A15-D18B-47B3-9CA0-B40898F9CD50}" srcOrd="1" destOrd="0" presId="urn:microsoft.com/office/officeart/2005/8/layout/orgChart1"/>
    <dgm:cxn modelId="{EB0ED95A-48DF-4EC0-8FA2-F73AE7105503}" type="presParOf" srcId="{DF2F653D-344D-4FB8-9BFE-4632037A3E7B}" destId="{9C37565E-D11F-45BD-B816-20381F060AB1}" srcOrd="1" destOrd="0" presId="urn:microsoft.com/office/officeart/2005/8/layout/orgChart1"/>
    <dgm:cxn modelId="{37C7A13F-EE17-4643-80D8-2F4520086EA1}" type="presParOf" srcId="{DF2F653D-344D-4FB8-9BFE-4632037A3E7B}" destId="{9C5018E2-8307-4E3E-9044-45319D51FA9F}" srcOrd="2" destOrd="0" presId="urn:microsoft.com/office/officeart/2005/8/layout/orgChart1"/>
    <dgm:cxn modelId="{7093FE54-2C21-41BB-A088-2C80FA9A7155}" type="presParOf" srcId="{3920BFA3-AC5C-4424-ACD7-7E148C18359E}" destId="{38F6A058-7E48-4D72-99DA-87A83BD6629F}" srcOrd="8" destOrd="0" presId="urn:microsoft.com/office/officeart/2005/8/layout/orgChart1"/>
    <dgm:cxn modelId="{8D0F8D70-4BC1-4859-B011-B7A0A870022D}" type="presParOf" srcId="{3920BFA3-AC5C-4424-ACD7-7E148C18359E}" destId="{D552FDEE-5469-4891-8FDB-8AD5896678B3}" srcOrd="9" destOrd="0" presId="urn:microsoft.com/office/officeart/2005/8/layout/orgChart1"/>
    <dgm:cxn modelId="{9A100156-BD11-4D32-AE21-E72D3B914C9A}" type="presParOf" srcId="{D552FDEE-5469-4891-8FDB-8AD5896678B3}" destId="{EF6AA7E8-3D3B-43C8-89E5-4F4F5DFCF6B9}" srcOrd="0" destOrd="0" presId="urn:microsoft.com/office/officeart/2005/8/layout/orgChart1"/>
    <dgm:cxn modelId="{F406685D-33A6-4133-B852-0B91D2923158}" type="presParOf" srcId="{EF6AA7E8-3D3B-43C8-89E5-4F4F5DFCF6B9}" destId="{F2BD23BC-2E0A-441B-BE28-E14725F51793}" srcOrd="0" destOrd="0" presId="urn:microsoft.com/office/officeart/2005/8/layout/orgChart1"/>
    <dgm:cxn modelId="{3F44D462-0A7D-43BE-AFE9-C29F06B31124}" type="presParOf" srcId="{EF6AA7E8-3D3B-43C8-89E5-4F4F5DFCF6B9}" destId="{96311BE1-6806-4936-A91A-7E842B15BE23}" srcOrd="1" destOrd="0" presId="urn:microsoft.com/office/officeart/2005/8/layout/orgChart1"/>
    <dgm:cxn modelId="{B596F186-EA94-406F-994F-0C9596CB12A2}" type="presParOf" srcId="{D552FDEE-5469-4891-8FDB-8AD5896678B3}" destId="{EFD1A3F8-F679-4BFE-A96D-BBA1B8F7E28E}" srcOrd="1" destOrd="0" presId="urn:microsoft.com/office/officeart/2005/8/layout/orgChart1"/>
    <dgm:cxn modelId="{93602BCB-24E4-45B6-8CC8-DC902C202E49}" type="presParOf" srcId="{D552FDEE-5469-4891-8FDB-8AD5896678B3}" destId="{E1434C1B-93F4-4F85-BF3F-2674BA9F6695}" srcOrd="2" destOrd="0" presId="urn:microsoft.com/office/officeart/2005/8/layout/orgChart1"/>
    <dgm:cxn modelId="{77568E58-DF45-42F0-A912-CC3A468E30E0}" type="presParOf" srcId="{3920BFA3-AC5C-4424-ACD7-7E148C18359E}" destId="{BDA0D309-749C-449A-8DB4-EAF8CCA3E67D}" srcOrd="10" destOrd="0" presId="urn:microsoft.com/office/officeart/2005/8/layout/orgChart1"/>
    <dgm:cxn modelId="{BDB986E5-53EF-4A86-8169-27CC39FCCA2C}" type="presParOf" srcId="{3920BFA3-AC5C-4424-ACD7-7E148C18359E}" destId="{887C9540-28D2-46DA-9258-D87AD3C70C71}" srcOrd="11" destOrd="0" presId="urn:microsoft.com/office/officeart/2005/8/layout/orgChart1"/>
    <dgm:cxn modelId="{A77C4D6E-DDE5-470E-B0B6-68FB353D11F1}" type="presParOf" srcId="{887C9540-28D2-46DA-9258-D87AD3C70C71}" destId="{DB86626F-20CE-47FA-8B7A-1062024CD376}" srcOrd="0" destOrd="0" presId="urn:microsoft.com/office/officeart/2005/8/layout/orgChart1"/>
    <dgm:cxn modelId="{48AF7011-FA1F-4E5E-B2F7-6612761B3E6F}" type="presParOf" srcId="{DB86626F-20CE-47FA-8B7A-1062024CD376}" destId="{B0363488-F9A3-4DD4-BCDF-D8D2C1C53362}" srcOrd="0" destOrd="0" presId="urn:microsoft.com/office/officeart/2005/8/layout/orgChart1"/>
    <dgm:cxn modelId="{2AEF577D-4912-450B-9E84-65501FBA1088}" type="presParOf" srcId="{DB86626F-20CE-47FA-8B7A-1062024CD376}" destId="{C5765A06-B728-4F1F-BEA5-C8B842B28AB3}" srcOrd="1" destOrd="0" presId="urn:microsoft.com/office/officeart/2005/8/layout/orgChart1"/>
    <dgm:cxn modelId="{34E75B90-7A63-477E-A7E8-611871F2486F}" type="presParOf" srcId="{887C9540-28D2-46DA-9258-D87AD3C70C71}" destId="{B419F9A7-6256-4C2F-878E-B82AE2CBC9A9}" srcOrd="1" destOrd="0" presId="urn:microsoft.com/office/officeart/2005/8/layout/orgChart1"/>
    <dgm:cxn modelId="{E983BBFB-6C83-4262-A43E-58D64FB25C89}" type="presParOf" srcId="{887C9540-28D2-46DA-9258-D87AD3C70C71}" destId="{141235EF-2547-4156-9A49-E8377A75F5CA}" srcOrd="2" destOrd="0" presId="urn:microsoft.com/office/officeart/2005/8/layout/orgChart1"/>
    <dgm:cxn modelId="{A206ACDD-A848-4FE0-8462-1D2AA2CE3334}" type="presParOf" srcId="{E95E3131-A08A-43F9-AFEC-504F1171E205}" destId="{110B8CA0-C5B1-4088-832E-968B3904855E}" srcOrd="2" destOrd="0" presId="urn:microsoft.com/office/officeart/2005/8/layout/orgChart1"/>
    <dgm:cxn modelId="{94E17AD2-C252-41B7-8CA8-CF26F5E30FFA}" type="presParOf" srcId="{066E69C0-C6CF-4B2F-9503-59BB14177765}" destId="{A158FBDA-FE80-481D-A683-1087A6297DF7}" srcOrd="2" destOrd="0" presId="urn:microsoft.com/office/officeart/2005/8/layout/orgChart1"/>
    <dgm:cxn modelId="{2298012E-2BA4-4A7B-ACFB-085780565FF8}" type="presParOf" srcId="{066E69C0-C6CF-4B2F-9503-59BB14177765}" destId="{7B7F4A61-44AD-4660-A004-E01D74CB3993}" srcOrd="3" destOrd="0" presId="urn:microsoft.com/office/officeart/2005/8/layout/orgChart1"/>
    <dgm:cxn modelId="{012083AC-3E5E-4DEB-9632-38B656FEEB41}" type="presParOf" srcId="{7B7F4A61-44AD-4660-A004-E01D74CB3993}" destId="{C1C1659C-40C8-4D06-88CD-8B4E382A7FA3}" srcOrd="0" destOrd="0" presId="urn:microsoft.com/office/officeart/2005/8/layout/orgChart1"/>
    <dgm:cxn modelId="{126DB656-1F24-4D30-B3D0-B481A1A8F9D8}" type="presParOf" srcId="{C1C1659C-40C8-4D06-88CD-8B4E382A7FA3}" destId="{7D987F92-7D35-4143-98F0-7F550C1854D0}" srcOrd="0" destOrd="0" presId="urn:microsoft.com/office/officeart/2005/8/layout/orgChart1"/>
    <dgm:cxn modelId="{80DEF662-F245-4CB8-B119-01ACF154B223}" type="presParOf" srcId="{C1C1659C-40C8-4D06-88CD-8B4E382A7FA3}" destId="{00704EBE-B448-41C3-9648-6FB2DE06439D}" srcOrd="1" destOrd="0" presId="urn:microsoft.com/office/officeart/2005/8/layout/orgChart1"/>
    <dgm:cxn modelId="{EFBD2FF2-F7B7-43DF-9ACA-8FE04197D254}" type="presParOf" srcId="{7B7F4A61-44AD-4660-A004-E01D74CB3993}" destId="{7EE343C9-968E-4784-8601-4A7959215DD1}" srcOrd="1" destOrd="0" presId="urn:microsoft.com/office/officeart/2005/8/layout/orgChart1"/>
    <dgm:cxn modelId="{D3C2C243-330C-4334-99A7-493831B169BB}" type="presParOf" srcId="{7EE343C9-968E-4784-8601-4A7959215DD1}" destId="{3B68F40B-CA34-4933-9B66-DF0F8E5E033E}" srcOrd="0" destOrd="0" presId="urn:microsoft.com/office/officeart/2005/8/layout/orgChart1"/>
    <dgm:cxn modelId="{9B7ADA73-24DD-4F25-8F34-D213CE815114}" type="presParOf" srcId="{7EE343C9-968E-4784-8601-4A7959215DD1}" destId="{F7CE9413-E7B2-4296-AD69-7C35B0B15EF1}" srcOrd="1" destOrd="0" presId="urn:microsoft.com/office/officeart/2005/8/layout/orgChart1"/>
    <dgm:cxn modelId="{9BE5B926-785A-456E-B2C5-D90A53C8BBAE}" type="presParOf" srcId="{F7CE9413-E7B2-4296-AD69-7C35B0B15EF1}" destId="{F201A93C-E34C-4B21-9EB3-E70F0FDE64EC}" srcOrd="0" destOrd="0" presId="urn:microsoft.com/office/officeart/2005/8/layout/orgChart1"/>
    <dgm:cxn modelId="{F23D4589-48DE-40F4-A05B-C0E717480D87}" type="presParOf" srcId="{F201A93C-E34C-4B21-9EB3-E70F0FDE64EC}" destId="{7DE978DE-FDD4-4585-A148-67512926481F}" srcOrd="0" destOrd="0" presId="urn:microsoft.com/office/officeart/2005/8/layout/orgChart1"/>
    <dgm:cxn modelId="{99E1578E-9DA0-48DB-8C18-BC8B53B057A4}" type="presParOf" srcId="{F201A93C-E34C-4B21-9EB3-E70F0FDE64EC}" destId="{F65783CD-FCF3-4364-BDAE-C6B8F35DE4E5}" srcOrd="1" destOrd="0" presId="urn:microsoft.com/office/officeart/2005/8/layout/orgChart1"/>
    <dgm:cxn modelId="{06462E89-2EA4-4AAA-8546-64532FAA29AE}" type="presParOf" srcId="{F7CE9413-E7B2-4296-AD69-7C35B0B15EF1}" destId="{19E12958-8C47-47DF-9D4B-00202CA3AC00}" srcOrd="1" destOrd="0" presId="urn:microsoft.com/office/officeart/2005/8/layout/orgChart1"/>
    <dgm:cxn modelId="{B86EBEB2-4457-4B6F-8FBC-A86FEE3BAD24}" type="presParOf" srcId="{F7CE9413-E7B2-4296-AD69-7C35B0B15EF1}" destId="{2FB37C22-08BF-421C-BB25-91D5B4FB4B03}" srcOrd="2" destOrd="0" presId="urn:microsoft.com/office/officeart/2005/8/layout/orgChart1"/>
    <dgm:cxn modelId="{6A57003A-98F5-449E-8E80-7C8E30FB98E7}" type="presParOf" srcId="{7EE343C9-968E-4784-8601-4A7959215DD1}" destId="{8126E7ED-1EFB-4DC7-B93C-A509EDCFECC6}" srcOrd="2" destOrd="0" presId="urn:microsoft.com/office/officeart/2005/8/layout/orgChart1"/>
    <dgm:cxn modelId="{0F839685-4509-426E-82D3-749BA980A0B0}" type="presParOf" srcId="{7EE343C9-968E-4784-8601-4A7959215DD1}" destId="{879F3A0E-9DF5-4202-BCBA-30E3FCFD090D}" srcOrd="3" destOrd="0" presId="urn:microsoft.com/office/officeart/2005/8/layout/orgChart1"/>
    <dgm:cxn modelId="{53927881-A68B-48CF-9873-7A61606808DA}" type="presParOf" srcId="{879F3A0E-9DF5-4202-BCBA-30E3FCFD090D}" destId="{C7E92987-2404-49FE-AA7F-AA7B9DEEA283}" srcOrd="0" destOrd="0" presId="urn:microsoft.com/office/officeart/2005/8/layout/orgChart1"/>
    <dgm:cxn modelId="{7E175FAF-90A6-44A4-8769-DE250C878F5A}" type="presParOf" srcId="{C7E92987-2404-49FE-AA7F-AA7B9DEEA283}" destId="{95060CD5-E72B-43E3-AE00-28ED9DE85B01}" srcOrd="0" destOrd="0" presId="urn:microsoft.com/office/officeart/2005/8/layout/orgChart1"/>
    <dgm:cxn modelId="{97962A33-B08B-4C2E-9C00-5F4DB43A6475}" type="presParOf" srcId="{C7E92987-2404-49FE-AA7F-AA7B9DEEA283}" destId="{5A19E98F-0F3A-4E09-AB65-E5F1DA066601}" srcOrd="1" destOrd="0" presId="urn:microsoft.com/office/officeart/2005/8/layout/orgChart1"/>
    <dgm:cxn modelId="{7564B0D9-1839-4791-863B-C0907890461C}" type="presParOf" srcId="{879F3A0E-9DF5-4202-BCBA-30E3FCFD090D}" destId="{17E28009-57BA-4F44-B413-B50AF86DD419}" srcOrd="1" destOrd="0" presId="urn:microsoft.com/office/officeart/2005/8/layout/orgChart1"/>
    <dgm:cxn modelId="{28348DEF-A82B-40B6-B9B7-D034D49FA27A}" type="presParOf" srcId="{879F3A0E-9DF5-4202-BCBA-30E3FCFD090D}" destId="{6D691161-BE38-4537-8B7B-09BD6D376C0F}" srcOrd="2" destOrd="0" presId="urn:microsoft.com/office/officeart/2005/8/layout/orgChart1"/>
    <dgm:cxn modelId="{E636B209-7249-4BDE-822E-6CC79D4DEB82}" type="presParOf" srcId="{7EE343C9-968E-4784-8601-4A7959215DD1}" destId="{D20E2316-F1C9-4B58-809C-37D7B49498A8}" srcOrd="4" destOrd="0" presId="urn:microsoft.com/office/officeart/2005/8/layout/orgChart1"/>
    <dgm:cxn modelId="{761E4C5F-FB9B-4C59-9390-BDEED48BE731}" type="presParOf" srcId="{7EE343C9-968E-4784-8601-4A7959215DD1}" destId="{FC97199B-5D92-4071-9C5C-7DDAEDABF62E}" srcOrd="5" destOrd="0" presId="urn:microsoft.com/office/officeart/2005/8/layout/orgChart1"/>
    <dgm:cxn modelId="{8644B7A0-D03A-436D-9673-58F5C8DD96B1}" type="presParOf" srcId="{FC97199B-5D92-4071-9C5C-7DDAEDABF62E}" destId="{C27AE854-62A4-43C0-B47B-0A4521318F22}" srcOrd="0" destOrd="0" presId="urn:microsoft.com/office/officeart/2005/8/layout/orgChart1"/>
    <dgm:cxn modelId="{C5502BA3-B264-4556-B762-008103EB3DF1}" type="presParOf" srcId="{C27AE854-62A4-43C0-B47B-0A4521318F22}" destId="{175ADE88-AD71-4BAF-A40D-557E80A72AF6}" srcOrd="0" destOrd="0" presId="urn:microsoft.com/office/officeart/2005/8/layout/orgChart1"/>
    <dgm:cxn modelId="{645192EC-03B8-4C29-9B90-7D888F9B74DC}" type="presParOf" srcId="{C27AE854-62A4-43C0-B47B-0A4521318F22}" destId="{1FF9E9F1-4FED-413C-B9FB-C759F942D31F}" srcOrd="1" destOrd="0" presId="urn:microsoft.com/office/officeart/2005/8/layout/orgChart1"/>
    <dgm:cxn modelId="{245E6581-5BF7-424E-BDAD-B2C507E4F46B}" type="presParOf" srcId="{FC97199B-5D92-4071-9C5C-7DDAEDABF62E}" destId="{DC1C3B73-61A4-43AA-B6BF-592C31ECA3AF}" srcOrd="1" destOrd="0" presId="urn:microsoft.com/office/officeart/2005/8/layout/orgChart1"/>
    <dgm:cxn modelId="{6C326482-EAD8-4C53-971F-CC5F2097EDA4}" type="presParOf" srcId="{FC97199B-5D92-4071-9C5C-7DDAEDABF62E}" destId="{2F56F056-C10F-42B0-BF5E-CED793AD7759}" srcOrd="2" destOrd="0" presId="urn:microsoft.com/office/officeart/2005/8/layout/orgChart1"/>
    <dgm:cxn modelId="{A18F6B90-3DD0-4362-B22D-FEE54F6024CE}" type="presParOf" srcId="{7EE343C9-968E-4784-8601-4A7959215DD1}" destId="{3C19CDE8-1619-435F-BE8B-2AB153E85879}" srcOrd="6" destOrd="0" presId="urn:microsoft.com/office/officeart/2005/8/layout/orgChart1"/>
    <dgm:cxn modelId="{9D7E9E2C-09DF-4D25-9AFA-17B5236F7C16}" type="presParOf" srcId="{7EE343C9-968E-4784-8601-4A7959215DD1}" destId="{9360F5D3-E8C2-4C55-9A2E-A0CE2572DDDC}" srcOrd="7" destOrd="0" presId="urn:microsoft.com/office/officeart/2005/8/layout/orgChart1"/>
    <dgm:cxn modelId="{51C25431-E8BB-43A4-82CA-458554181357}" type="presParOf" srcId="{9360F5D3-E8C2-4C55-9A2E-A0CE2572DDDC}" destId="{607D9AFC-CE42-42A1-9EB1-36930BE02CD5}" srcOrd="0" destOrd="0" presId="urn:microsoft.com/office/officeart/2005/8/layout/orgChart1"/>
    <dgm:cxn modelId="{317526C8-C653-42AB-90C3-06401BB792FD}" type="presParOf" srcId="{607D9AFC-CE42-42A1-9EB1-36930BE02CD5}" destId="{356B3328-D764-40AC-8224-7C581170E4AA}" srcOrd="0" destOrd="0" presId="urn:microsoft.com/office/officeart/2005/8/layout/orgChart1"/>
    <dgm:cxn modelId="{6FAAFB7C-6BA4-48DF-807A-5C62BFBD845F}" type="presParOf" srcId="{607D9AFC-CE42-42A1-9EB1-36930BE02CD5}" destId="{E93C2A34-A97C-4508-A88F-51D5DA31D8C2}" srcOrd="1" destOrd="0" presId="urn:microsoft.com/office/officeart/2005/8/layout/orgChart1"/>
    <dgm:cxn modelId="{5F17595D-466E-4662-BC42-D815515BF4B9}" type="presParOf" srcId="{9360F5D3-E8C2-4C55-9A2E-A0CE2572DDDC}" destId="{7BA60B2C-7189-41FF-BFB8-C7874E6AC2DB}" srcOrd="1" destOrd="0" presId="urn:microsoft.com/office/officeart/2005/8/layout/orgChart1"/>
    <dgm:cxn modelId="{BA3C5272-0D57-4270-BA0E-EC317AD9A6B7}" type="presParOf" srcId="{9360F5D3-E8C2-4C55-9A2E-A0CE2572DDDC}" destId="{27D8EEAD-18A0-4425-A8E3-D7D26180ED33}" srcOrd="2" destOrd="0" presId="urn:microsoft.com/office/officeart/2005/8/layout/orgChart1"/>
    <dgm:cxn modelId="{55ECEA96-B405-40FA-AAE0-CAC57E559C47}" type="presParOf" srcId="{7EE343C9-968E-4784-8601-4A7959215DD1}" destId="{BA812832-9151-4475-AEEE-997AAEA180DD}" srcOrd="8" destOrd="0" presId="urn:microsoft.com/office/officeart/2005/8/layout/orgChart1"/>
    <dgm:cxn modelId="{8FB84F3C-0D0C-478D-9F9A-936B7487258C}" type="presParOf" srcId="{7EE343C9-968E-4784-8601-4A7959215DD1}" destId="{E9DD63BF-38AB-44F1-B73B-18EC62469DAE}" srcOrd="9" destOrd="0" presId="urn:microsoft.com/office/officeart/2005/8/layout/orgChart1"/>
    <dgm:cxn modelId="{35CF2D3F-39B4-4648-9C06-DAD5127B8E8F}" type="presParOf" srcId="{E9DD63BF-38AB-44F1-B73B-18EC62469DAE}" destId="{605226FA-7527-47A1-8279-238BCC889804}" srcOrd="0" destOrd="0" presId="urn:microsoft.com/office/officeart/2005/8/layout/orgChart1"/>
    <dgm:cxn modelId="{A2ABBB84-1CBD-4B03-A6AA-782B1CE30DF7}" type="presParOf" srcId="{605226FA-7527-47A1-8279-238BCC889804}" destId="{0E5ADF65-7528-4E6B-A814-7FD4CDCBAEB0}" srcOrd="0" destOrd="0" presId="urn:microsoft.com/office/officeart/2005/8/layout/orgChart1"/>
    <dgm:cxn modelId="{520B5935-E36F-4F72-BF04-F96FEF567BF5}" type="presParOf" srcId="{605226FA-7527-47A1-8279-238BCC889804}" destId="{C08C8186-7CE9-48AE-B41B-D881FD3C4D87}" srcOrd="1" destOrd="0" presId="urn:microsoft.com/office/officeart/2005/8/layout/orgChart1"/>
    <dgm:cxn modelId="{FD01FF7D-CE04-4683-9C05-9B4B283AB5B0}" type="presParOf" srcId="{E9DD63BF-38AB-44F1-B73B-18EC62469DAE}" destId="{E6017F6A-7607-44AA-9473-D5CDBDEDB0C7}" srcOrd="1" destOrd="0" presId="urn:microsoft.com/office/officeart/2005/8/layout/orgChart1"/>
    <dgm:cxn modelId="{FCA45E5C-E7F2-4AB4-8447-13C0FD2FBA71}" type="presParOf" srcId="{E9DD63BF-38AB-44F1-B73B-18EC62469DAE}" destId="{306A7944-FDCE-4D0C-AD95-EC9B74B2C481}" srcOrd="2" destOrd="0" presId="urn:microsoft.com/office/officeart/2005/8/layout/orgChart1"/>
    <dgm:cxn modelId="{A01D45AA-5678-4186-B127-EAC115FCD7C5}" type="presParOf" srcId="{7EE343C9-968E-4784-8601-4A7959215DD1}" destId="{15BFC48D-BBC2-4AA7-84DF-E08D387E4BEE}" srcOrd="10" destOrd="0" presId="urn:microsoft.com/office/officeart/2005/8/layout/orgChart1"/>
    <dgm:cxn modelId="{3208CA43-21DC-4AE5-B65A-78D1F7DAF05E}" type="presParOf" srcId="{7EE343C9-968E-4784-8601-4A7959215DD1}" destId="{F23DC6A7-5F16-4E38-86B1-CAA6CCFFD663}" srcOrd="11" destOrd="0" presId="urn:microsoft.com/office/officeart/2005/8/layout/orgChart1"/>
    <dgm:cxn modelId="{243E75EB-5E56-4CE3-92E2-19EC7E632800}" type="presParOf" srcId="{F23DC6A7-5F16-4E38-86B1-CAA6CCFFD663}" destId="{C7979B17-2652-45CB-BA3C-E7D7C2DAE869}" srcOrd="0" destOrd="0" presId="urn:microsoft.com/office/officeart/2005/8/layout/orgChart1"/>
    <dgm:cxn modelId="{80D1A4A5-7FB2-43DD-9146-AB543A963376}" type="presParOf" srcId="{C7979B17-2652-45CB-BA3C-E7D7C2DAE869}" destId="{F0F62E1F-8929-43B7-BB6A-F1C6E74066B2}" srcOrd="0" destOrd="0" presId="urn:microsoft.com/office/officeart/2005/8/layout/orgChart1"/>
    <dgm:cxn modelId="{4706CAC4-367C-4EDF-A45A-F771C2AFFF28}" type="presParOf" srcId="{C7979B17-2652-45CB-BA3C-E7D7C2DAE869}" destId="{B2119018-1591-4A2B-916A-EAC928437B99}" srcOrd="1" destOrd="0" presId="urn:microsoft.com/office/officeart/2005/8/layout/orgChart1"/>
    <dgm:cxn modelId="{B605C345-78D3-455E-990F-D359E1289F1F}" type="presParOf" srcId="{F23DC6A7-5F16-4E38-86B1-CAA6CCFFD663}" destId="{986859C5-59D9-4CAA-95D8-8C726C6A14CD}" srcOrd="1" destOrd="0" presId="urn:microsoft.com/office/officeart/2005/8/layout/orgChart1"/>
    <dgm:cxn modelId="{DACD786C-E022-4008-9129-96CD90AE58F3}" type="presParOf" srcId="{F23DC6A7-5F16-4E38-86B1-CAA6CCFFD663}" destId="{70C682E1-4958-4E6D-8D51-7120235B17E3}" srcOrd="2" destOrd="0" presId="urn:microsoft.com/office/officeart/2005/8/layout/orgChart1"/>
    <dgm:cxn modelId="{B1760472-546F-4F46-8743-3E12DD5037A8}" type="presParOf" srcId="{7EE343C9-968E-4784-8601-4A7959215DD1}" destId="{D0A2B68C-81AE-484B-AA25-5AD1DD9964D7}" srcOrd="12" destOrd="0" presId="urn:microsoft.com/office/officeart/2005/8/layout/orgChart1"/>
    <dgm:cxn modelId="{8587A80A-8C97-48DE-B6DB-B3E346E43B40}" type="presParOf" srcId="{7EE343C9-968E-4784-8601-4A7959215DD1}" destId="{BCDE0529-E1B6-4338-9B92-2E52C2823B7C}" srcOrd="13" destOrd="0" presId="urn:microsoft.com/office/officeart/2005/8/layout/orgChart1"/>
    <dgm:cxn modelId="{04CCBE14-86C6-46DC-B849-61C805EAEF51}" type="presParOf" srcId="{BCDE0529-E1B6-4338-9B92-2E52C2823B7C}" destId="{C54585F7-6C6B-40B1-81E8-9C201F432ACA}" srcOrd="0" destOrd="0" presId="urn:microsoft.com/office/officeart/2005/8/layout/orgChart1"/>
    <dgm:cxn modelId="{4C9345E4-48B0-4BB3-9DF2-081ACC4A806A}" type="presParOf" srcId="{C54585F7-6C6B-40B1-81E8-9C201F432ACA}" destId="{3AE77575-B618-4540-A5D3-713314C05524}" srcOrd="0" destOrd="0" presId="urn:microsoft.com/office/officeart/2005/8/layout/orgChart1"/>
    <dgm:cxn modelId="{8EAB0BA5-BDC2-47D1-816F-B6D9327EC83D}" type="presParOf" srcId="{C54585F7-6C6B-40B1-81E8-9C201F432ACA}" destId="{0A7ECC2D-925A-4A5A-983B-44AA6F0DAF1D}" srcOrd="1" destOrd="0" presId="urn:microsoft.com/office/officeart/2005/8/layout/orgChart1"/>
    <dgm:cxn modelId="{50AAB68C-CDAE-4ED1-A8CC-DB700CCAA8FD}" type="presParOf" srcId="{BCDE0529-E1B6-4338-9B92-2E52C2823B7C}" destId="{747F2C99-3DF1-4AC3-810F-11A9F9C64CC1}" srcOrd="1" destOrd="0" presId="urn:microsoft.com/office/officeart/2005/8/layout/orgChart1"/>
    <dgm:cxn modelId="{4E31CBB3-9F94-418E-B89A-136B8C8A18AB}" type="presParOf" srcId="{BCDE0529-E1B6-4338-9B92-2E52C2823B7C}" destId="{D8DEE09F-9284-4300-A08E-19A45A7D509D}" srcOrd="2" destOrd="0" presId="urn:microsoft.com/office/officeart/2005/8/layout/orgChart1"/>
    <dgm:cxn modelId="{6069FF48-63BE-4045-AF93-2D11D2004A37}" type="presParOf" srcId="{7B7F4A61-44AD-4660-A004-E01D74CB3993}" destId="{2A2C7B99-30D3-4786-A061-FD5978DD9CE9}" srcOrd="2" destOrd="0" presId="urn:microsoft.com/office/officeart/2005/8/layout/orgChart1"/>
    <dgm:cxn modelId="{66786626-3283-43B3-87DF-E9B3C75FB1B4}" type="presParOf" srcId="{066E69C0-C6CF-4B2F-9503-59BB14177765}" destId="{D0B2D542-C665-4A27-AB65-BE2D43E07D73}" srcOrd="4" destOrd="0" presId="urn:microsoft.com/office/officeart/2005/8/layout/orgChart1"/>
    <dgm:cxn modelId="{67B2A99E-49BF-4EF5-8C1E-8434793EE47A}" type="presParOf" srcId="{066E69C0-C6CF-4B2F-9503-59BB14177765}" destId="{D6D62EFD-97F2-4BA7-AB1A-C8F3824F81AD}" srcOrd="5" destOrd="0" presId="urn:microsoft.com/office/officeart/2005/8/layout/orgChart1"/>
    <dgm:cxn modelId="{DF0A12DE-EAC0-4C48-A835-A3505F8BBC31}" type="presParOf" srcId="{D6D62EFD-97F2-4BA7-AB1A-C8F3824F81AD}" destId="{A2F2327A-4FFD-42A9-BB8F-40200C5D7625}" srcOrd="0" destOrd="0" presId="urn:microsoft.com/office/officeart/2005/8/layout/orgChart1"/>
    <dgm:cxn modelId="{6BFC7F2E-014F-4830-B2E6-2191F6B9C3BC}" type="presParOf" srcId="{A2F2327A-4FFD-42A9-BB8F-40200C5D7625}" destId="{20A39BFD-AC94-4833-AAAF-948F81E52002}" srcOrd="0" destOrd="0" presId="urn:microsoft.com/office/officeart/2005/8/layout/orgChart1"/>
    <dgm:cxn modelId="{3C6E5816-111F-48CC-8715-66C15BBAF4C2}" type="presParOf" srcId="{A2F2327A-4FFD-42A9-BB8F-40200C5D7625}" destId="{0A4B7152-A5C0-4304-B702-BC0C52C9EC39}" srcOrd="1" destOrd="0" presId="urn:microsoft.com/office/officeart/2005/8/layout/orgChart1"/>
    <dgm:cxn modelId="{58E8157D-E9E6-483D-BFC3-F54851054A14}" type="presParOf" srcId="{D6D62EFD-97F2-4BA7-AB1A-C8F3824F81AD}" destId="{6923F2DB-CFA1-43DA-B776-2F8B671228D5}" srcOrd="1" destOrd="0" presId="urn:microsoft.com/office/officeart/2005/8/layout/orgChart1"/>
    <dgm:cxn modelId="{BE31DA0C-5E65-4E16-9AD6-CFA4AA510486}" type="presParOf" srcId="{6923F2DB-CFA1-43DA-B776-2F8B671228D5}" destId="{9233F8A3-3DD8-405A-B709-2177E2199FEB}" srcOrd="0" destOrd="0" presId="urn:microsoft.com/office/officeart/2005/8/layout/orgChart1"/>
    <dgm:cxn modelId="{60E602D0-09CE-4C77-AF21-6A347478D343}" type="presParOf" srcId="{6923F2DB-CFA1-43DA-B776-2F8B671228D5}" destId="{0B51C77E-E536-48AA-9BF2-E5CB156A28CD}" srcOrd="1" destOrd="0" presId="urn:microsoft.com/office/officeart/2005/8/layout/orgChart1"/>
    <dgm:cxn modelId="{A9ACB14D-283C-439A-95B6-27A3D88832C8}" type="presParOf" srcId="{0B51C77E-E536-48AA-9BF2-E5CB156A28CD}" destId="{AB22C40B-D3AF-4475-9672-4D9A2F57941C}" srcOrd="0" destOrd="0" presId="urn:microsoft.com/office/officeart/2005/8/layout/orgChart1"/>
    <dgm:cxn modelId="{707FC05A-9C41-4D81-80FF-4BAA5319E484}" type="presParOf" srcId="{AB22C40B-D3AF-4475-9672-4D9A2F57941C}" destId="{F0663EE5-7143-42B2-A6AE-F82AA7D88908}" srcOrd="0" destOrd="0" presId="urn:microsoft.com/office/officeart/2005/8/layout/orgChart1"/>
    <dgm:cxn modelId="{0217275D-C783-409E-8D28-0B4B8323619F}" type="presParOf" srcId="{AB22C40B-D3AF-4475-9672-4D9A2F57941C}" destId="{AE4351CA-69DC-4BA0-AB6C-9CE1DF3BD1D6}" srcOrd="1" destOrd="0" presId="urn:microsoft.com/office/officeart/2005/8/layout/orgChart1"/>
    <dgm:cxn modelId="{FD99B5D2-87C0-4A25-AD13-7C5ED64D7D02}" type="presParOf" srcId="{0B51C77E-E536-48AA-9BF2-E5CB156A28CD}" destId="{35179876-1C2A-4A17-9895-CFA1E81D445B}" srcOrd="1" destOrd="0" presId="urn:microsoft.com/office/officeart/2005/8/layout/orgChart1"/>
    <dgm:cxn modelId="{0D8D83B7-613A-46DC-8AD6-21459BC9C118}" type="presParOf" srcId="{0B51C77E-E536-48AA-9BF2-E5CB156A28CD}" destId="{E3DAD0CB-79FA-4AA7-979E-EFEEE2D28862}" srcOrd="2" destOrd="0" presId="urn:microsoft.com/office/officeart/2005/8/layout/orgChart1"/>
    <dgm:cxn modelId="{269EE485-81E1-48A4-B54C-4DDE9DABE7E5}" type="presParOf" srcId="{6923F2DB-CFA1-43DA-B776-2F8B671228D5}" destId="{4292BEEF-ED59-4044-B99B-DC4347476C93}" srcOrd="2" destOrd="0" presId="urn:microsoft.com/office/officeart/2005/8/layout/orgChart1"/>
    <dgm:cxn modelId="{9DAEF87C-620F-4768-82CB-CC25FF3CCB6A}" type="presParOf" srcId="{6923F2DB-CFA1-43DA-B776-2F8B671228D5}" destId="{EB1E0698-2238-417E-B4CC-925D422ADFD9}" srcOrd="3" destOrd="0" presId="urn:microsoft.com/office/officeart/2005/8/layout/orgChart1"/>
    <dgm:cxn modelId="{06E8687C-7FFC-43B3-8517-80040CE1C7BB}" type="presParOf" srcId="{EB1E0698-2238-417E-B4CC-925D422ADFD9}" destId="{D7895E98-490F-4AA4-8255-363F85B08485}" srcOrd="0" destOrd="0" presId="urn:microsoft.com/office/officeart/2005/8/layout/orgChart1"/>
    <dgm:cxn modelId="{48E6A3E4-C647-4C27-9B0D-A6D5D62DC949}" type="presParOf" srcId="{D7895E98-490F-4AA4-8255-363F85B08485}" destId="{679AFEB9-1304-4C46-92B9-D14908334993}" srcOrd="0" destOrd="0" presId="urn:microsoft.com/office/officeart/2005/8/layout/orgChart1"/>
    <dgm:cxn modelId="{A7FC87E7-4F23-4A62-BA64-2DC67144E673}" type="presParOf" srcId="{D7895E98-490F-4AA4-8255-363F85B08485}" destId="{AD7D63B9-7467-4870-AB99-425C675F3C72}" srcOrd="1" destOrd="0" presId="urn:microsoft.com/office/officeart/2005/8/layout/orgChart1"/>
    <dgm:cxn modelId="{A6EC76A2-3AC5-479C-8195-7FBE46F1C1C1}" type="presParOf" srcId="{EB1E0698-2238-417E-B4CC-925D422ADFD9}" destId="{977126EB-F25D-4C49-B98B-B68E1BD0D4BB}" srcOrd="1" destOrd="0" presId="urn:microsoft.com/office/officeart/2005/8/layout/orgChart1"/>
    <dgm:cxn modelId="{0337B04A-5109-4A40-8FF9-B3375B8040C3}" type="presParOf" srcId="{EB1E0698-2238-417E-B4CC-925D422ADFD9}" destId="{B2673B5A-D20B-433C-B67A-77654BAC3B88}" srcOrd="2" destOrd="0" presId="urn:microsoft.com/office/officeart/2005/8/layout/orgChart1"/>
    <dgm:cxn modelId="{A73CD439-29B8-4479-B0AA-4A6A57A5597D}" type="presParOf" srcId="{6923F2DB-CFA1-43DA-B776-2F8B671228D5}" destId="{B023BEAD-FFE1-4FE2-87DF-FBE8E5BE29A9}" srcOrd="4" destOrd="0" presId="urn:microsoft.com/office/officeart/2005/8/layout/orgChart1"/>
    <dgm:cxn modelId="{2D6D7827-DC83-41D7-85F0-30DB90555F52}" type="presParOf" srcId="{6923F2DB-CFA1-43DA-B776-2F8B671228D5}" destId="{5476372D-2150-433E-B2AE-6BA5A6E9F1A9}" srcOrd="5" destOrd="0" presId="urn:microsoft.com/office/officeart/2005/8/layout/orgChart1"/>
    <dgm:cxn modelId="{E1AC44DD-CCAA-4A68-9EE5-0A57636C4DD7}" type="presParOf" srcId="{5476372D-2150-433E-B2AE-6BA5A6E9F1A9}" destId="{22333E98-19CF-433C-9D01-F001398BCC8F}" srcOrd="0" destOrd="0" presId="urn:microsoft.com/office/officeart/2005/8/layout/orgChart1"/>
    <dgm:cxn modelId="{98DB7BC9-D884-4B42-BB15-A324C0CDD865}" type="presParOf" srcId="{22333E98-19CF-433C-9D01-F001398BCC8F}" destId="{F47BE956-BC37-4E68-8509-835266EF4509}" srcOrd="0" destOrd="0" presId="urn:microsoft.com/office/officeart/2005/8/layout/orgChart1"/>
    <dgm:cxn modelId="{21D9C1DA-C46C-4296-A150-9CBE95142F1E}" type="presParOf" srcId="{22333E98-19CF-433C-9D01-F001398BCC8F}" destId="{0061E253-07A5-4060-9D9C-063107019FC0}" srcOrd="1" destOrd="0" presId="urn:microsoft.com/office/officeart/2005/8/layout/orgChart1"/>
    <dgm:cxn modelId="{0F0FE0A8-5173-4D44-BE1B-C31223747240}" type="presParOf" srcId="{5476372D-2150-433E-B2AE-6BA5A6E9F1A9}" destId="{6A6FBDEC-98AE-4464-802A-117EA88E3B82}" srcOrd="1" destOrd="0" presId="urn:microsoft.com/office/officeart/2005/8/layout/orgChart1"/>
    <dgm:cxn modelId="{DFFEDAEB-E92D-46C9-AAC7-AE18B1F86C08}" type="presParOf" srcId="{5476372D-2150-433E-B2AE-6BA5A6E9F1A9}" destId="{EAFC9707-615E-4A38-811E-4449FC86631C}" srcOrd="2" destOrd="0" presId="urn:microsoft.com/office/officeart/2005/8/layout/orgChart1"/>
    <dgm:cxn modelId="{84E2F5E8-B7F9-423C-B36B-ABA3A8740262}" type="presParOf" srcId="{D6D62EFD-97F2-4BA7-AB1A-C8F3824F81AD}" destId="{909A163B-528C-4467-82CA-CD38902FAE5A}" srcOrd="2" destOrd="0" presId="urn:microsoft.com/office/officeart/2005/8/layout/orgChart1"/>
    <dgm:cxn modelId="{6D366F1A-E960-49E5-8BDC-490774CA1623}" type="presParOf" srcId="{066E69C0-C6CF-4B2F-9503-59BB14177765}" destId="{D08577E6-9F61-4368-8C6C-6BFE825C8CCF}" srcOrd="6" destOrd="0" presId="urn:microsoft.com/office/officeart/2005/8/layout/orgChart1"/>
    <dgm:cxn modelId="{379F1FB1-9646-4D78-B977-7EAD8AC32354}" type="presParOf" srcId="{066E69C0-C6CF-4B2F-9503-59BB14177765}" destId="{83DAE4F7-D3DA-498F-A827-D7EA16288892}" srcOrd="7" destOrd="0" presId="urn:microsoft.com/office/officeart/2005/8/layout/orgChart1"/>
    <dgm:cxn modelId="{CD642BF5-1D2D-47A8-84FE-7D3F9376C0B7}" type="presParOf" srcId="{83DAE4F7-D3DA-498F-A827-D7EA16288892}" destId="{BB502853-2436-4E23-A179-9E0EE716BF8C}" srcOrd="0" destOrd="0" presId="urn:microsoft.com/office/officeart/2005/8/layout/orgChart1"/>
    <dgm:cxn modelId="{2B104C2B-BDCA-4EE1-BA56-5DD0E77DF540}" type="presParOf" srcId="{BB502853-2436-4E23-A179-9E0EE716BF8C}" destId="{82EB6CB6-BC4E-4D4C-A10D-B3680BF7A7D2}" srcOrd="0" destOrd="0" presId="urn:microsoft.com/office/officeart/2005/8/layout/orgChart1"/>
    <dgm:cxn modelId="{2986119E-C6CC-499E-8568-78B0D8712BA1}" type="presParOf" srcId="{BB502853-2436-4E23-A179-9E0EE716BF8C}" destId="{3529AC6F-214E-4BA5-9ABF-2AAB4904DB2A}" srcOrd="1" destOrd="0" presId="urn:microsoft.com/office/officeart/2005/8/layout/orgChart1"/>
    <dgm:cxn modelId="{FC6D13B0-90A2-4258-80B1-6DCEF4BA1A51}" type="presParOf" srcId="{83DAE4F7-D3DA-498F-A827-D7EA16288892}" destId="{680C4AC6-7203-4B1B-9601-B803D3048B23}" srcOrd="1" destOrd="0" presId="urn:microsoft.com/office/officeart/2005/8/layout/orgChart1"/>
    <dgm:cxn modelId="{19AB4869-03F6-40A0-AA32-867785E294F5}" type="presParOf" srcId="{680C4AC6-7203-4B1B-9601-B803D3048B23}" destId="{3DC3783D-00DF-4D73-BC7D-A41DFB3A67B6}" srcOrd="0" destOrd="0" presId="urn:microsoft.com/office/officeart/2005/8/layout/orgChart1"/>
    <dgm:cxn modelId="{DB233C10-8792-45DD-AD81-766D96DCC880}" type="presParOf" srcId="{680C4AC6-7203-4B1B-9601-B803D3048B23}" destId="{60C8AFC8-C4AD-4B04-91D4-A5B5C090D367}" srcOrd="1" destOrd="0" presId="urn:microsoft.com/office/officeart/2005/8/layout/orgChart1"/>
    <dgm:cxn modelId="{B97CB6B9-8448-4522-BCF8-04268D5AEAF0}" type="presParOf" srcId="{60C8AFC8-C4AD-4B04-91D4-A5B5C090D367}" destId="{B486CE47-7DD5-48BF-8D75-E540029EE6CA}" srcOrd="0" destOrd="0" presId="urn:microsoft.com/office/officeart/2005/8/layout/orgChart1"/>
    <dgm:cxn modelId="{63D047AD-247F-4848-822A-41DABE421806}" type="presParOf" srcId="{B486CE47-7DD5-48BF-8D75-E540029EE6CA}" destId="{0750D890-C529-4565-BAB3-D4A4004C9728}" srcOrd="0" destOrd="0" presId="urn:microsoft.com/office/officeart/2005/8/layout/orgChart1"/>
    <dgm:cxn modelId="{43CEA044-4B82-4947-8D7B-DA04B21304AA}" type="presParOf" srcId="{B486CE47-7DD5-48BF-8D75-E540029EE6CA}" destId="{53D8C03D-8A58-4E09-A501-D19238429C1F}" srcOrd="1" destOrd="0" presId="urn:microsoft.com/office/officeart/2005/8/layout/orgChart1"/>
    <dgm:cxn modelId="{3C9E82A9-9B0E-4CCE-89BE-E2C8D9805966}" type="presParOf" srcId="{60C8AFC8-C4AD-4B04-91D4-A5B5C090D367}" destId="{9C4339F7-3EFD-4F3B-A986-8D230CE96470}" srcOrd="1" destOrd="0" presId="urn:microsoft.com/office/officeart/2005/8/layout/orgChart1"/>
    <dgm:cxn modelId="{7F602799-00C2-4A0A-A50B-66C09114FE74}" type="presParOf" srcId="{60C8AFC8-C4AD-4B04-91D4-A5B5C090D367}" destId="{6841046C-A373-43FC-AD58-F587E8686F44}" srcOrd="2" destOrd="0" presId="urn:microsoft.com/office/officeart/2005/8/layout/orgChart1"/>
    <dgm:cxn modelId="{BF51244A-125F-434B-9E62-CA2A627F1DE0}" type="presParOf" srcId="{680C4AC6-7203-4B1B-9601-B803D3048B23}" destId="{1B9B1158-72D8-4646-84DD-EF716B116A0C}" srcOrd="2" destOrd="0" presId="urn:microsoft.com/office/officeart/2005/8/layout/orgChart1"/>
    <dgm:cxn modelId="{1F9B2886-420D-42CC-82A9-B5CB545AD278}" type="presParOf" srcId="{680C4AC6-7203-4B1B-9601-B803D3048B23}" destId="{91134C7B-6308-40CC-8BCC-21F895B27679}" srcOrd="3" destOrd="0" presId="urn:microsoft.com/office/officeart/2005/8/layout/orgChart1"/>
    <dgm:cxn modelId="{CFA11A1F-F6AE-4E13-AFF7-CA01496BDF7D}" type="presParOf" srcId="{91134C7B-6308-40CC-8BCC-21F895B27679}" destId="{907D4FED-0B85-4459-B11D-7880BF19FE84}" srcOrd="0" destOrd="0" presId="urn:microsoft.com/office/officeart/2005/8/layout/orgChart1"/>
    <dgm:cxn modelId="{7ED7FD08-711E-463B-9FD6-43271D5B805F}" type="presParOf" srcId="{907D4FED-0B85-4459-B11D-7880BF19FE84}" destId="{6B26C1DA-C267-4CEE-A825-2498CB5CCDE4}" srcOrd="0" destOrd="0" presId="urn:microsoft.com/office/officeart/2005/8/layout/orgChart1"/>
    <dgm:cxn modelId="{2B07149A-7E48-4A1E-A5C5-A5FA5511C960}" type="presParOf" srcId="{907D4FED-0B85-4459-B11D-7880BF19FE84}" destId="{4DC09D01-8663-4654-AAA6-5B039AD072A1}" srcOrd="1" destOrd="0" presId="urn:microsoft.com/office/officeart/2005/8/layout/orgChart1"/>
    <dgm:cxn modelId="{C995BC14-2549-41B6-97BD-9D0F89A27504}" type="presParOf" srcId="{91134C7B-6308-40CC-8BCC-21F895B27679}" destId="{6D4C8EFB-9A63-4D1C-B48D-76E9CCC91125}" srcOrd="1" destOrd="0" presId="urn:microsoft.com/office/officeart/2005/8/layout/orgChart1"/>
    <dgm:cxn modelId="{373C9763-9BB6-49F8-BA11-451B0D3F73E6}" type="presParOf" srcId="{91134C7B-6308-40CC-8BCC-21F895B27679}" destId="{62F18575-2872-43AF-B296-AD9C83EBCE51}" srcOrd="2" destOrd="0" presId="urn:microsoft.com/office/officeart/2005/8/layout/orgChart1"/>
    <dgm:cxn modelId="{B8E99427-BEEE-46F9-9031-A52519213F6A}" type="presParOf" srcId="{680C4AC6-7203-4B1B-9601-B803D3048B23}" destId="{07B10B61-0933-49D5-9F06-7E2744C55194}" srcOrd="4" destOrd="0" presId="urn:microsoft.com/office/officeart/2005/8/layout/orgChart1"/>
    <dgm:cxn modelId="{417578FF-1663-4399-88CE-14551C4AE68C}" type="presParOf" srcId="{680C4AC6-7203-4B1B-9601-B803D3048B23}" destId="{B7B6B13A-B466-44A7-9373-F20080332702}" srcOrd="5" destOrd="0" presId="urn:microsoft.com/office/officeart/2005/8/layout/orgChart1"/>
    <dgm:cxn modelId="{21C6977B-12A4-4A97-B37F-ED481914778D}" type="presParOf" srcId="{B7B6B13A-B466-44A7-9373-F20080332702}" destId="{8DD64E20-1315-4B75-8660-B8B28B286A90}" srcOrd="0" destOrd="0" presId="urn:microsoft.com/office/officeart/2005/8/layout/orgChart1"/>
    <dgm:cxn modelId="{C3017E94-B628-4B40-A56A-216A6FA47759}" type="presParOf" srcId="{8DD64E20-1315-4B75-8660-B8B28B286A90}" destId="{9E15D32B-A159-4B43-91E5-E167856E33BF}" srcOrd="0" destOrd="0" presId="urn:microsoft.com/office/officeart/2005/8/layout/orgChart1"/>
    <dgm:cxn modelId="{CC735EE6-6069-4804-A954-C8FF9F2AEA43}" type="presParOf" srcId="{8DD64E20-1315-4B75-8660-B8B28B286A90}" destId="{445AE659-5C5A-488F-9D84-8716842FB809}" srcOrd="1" destOrd="0" presId="urn:microsoft.com/office/officeart/2005/8/layout/orgChart1"/>
    <dgm:cxn modelId="{27E7A250-16A7-4200-BE10-84F3B94562C5}" type="presParOf" srcId="{B7B6B13A-B466-44A7-9373-F20080332702}" destId="{30005633-7034-4DF5-8FA8-E6150C3C532A}" srcOrd="1" destOrd="0" presId="urn:microsoft.com/office/officeart/2005/8/layout/orgChart1"/>
    <dgm:cxn modelId="{7EE1DD17-F83E-45FC-9311-7035DEBF8898}" type="presParOf" srcId="{B7B6B13A-B466-44A7-9373-F20080332702}" destId="{D37E5529-BA5A-40ED-9DF4-F763BEE0B11E}" srcOrd="2" destOrd="0" presId="urn:microsoft.com/office/officeart/2005/8/layout/orgChart1"/>
    <dgm:cxn modelId="{926D79AC-1C80-42F0-8C95-001764DB9A5F}" type="presParOf" srcId="{83DAE4F7-D3DA-498F-A827-D7EA16288892}" destId="{A8C59E33-8BD9-4E59-8FBA-3889B6B99033}" srcOrd="2" destOrd="0" presId="urn:microsoft.com/office/officeart/2005/8/layout/orgChart1"/>
    <dgm:cxn modelId="{84268B31-3254-4E10-A8C4-8E47D371FE00}" type="presParOf" srcId="{066E69C0-C6CF-4B2F-9503-59BB14177765}" destId="{76881711-8B76-4157-8371-D2A005E257D7}" srcOrd="8" destOrd="0" presId="urn:microsoft.com/office/officeart/2005/8/layout/orgChart1"/>
    <dgm:cxn modelId="{C496014A-4A1D-4EBE-BC39-3EC3BAAA178B}" type="presParOf" srcId="{066E69C0-C6CF-4B2F-9503-59BB14177765}" destId="{B016AF52-EF24-48EA-B883-B7A6EEBD317C}" srcOrd="9" destOrd="0" presId="urn:microsoft.com/office/officeart/2005/8/layout/orgChart1"/>
    <dgm:cxn modelId="{D6E4981E-E4A2-44C7-990C-D3244B6A6859}" type="presParOf" srcId="{B016AF52-EF24-48EA-B883-B7A6EEBD317C}" destId="{7B1C4C30-4B36-4C3F-9AEE-26CC76DCF16A}" srcOrd="0" destOrd="0" presId="urn:microsoft.com/office/officeart/2005/8/layout/orgChart1"/>
    <dgm:cxn modelId="{9B4269CE-6C4F-455E-9B69-202D577D0682}" type="presParOf" srcId="{7B1C4C30-4B36-4C3F-9AEE-26CC76DCF16A}" destId="{C9A66C12-5161-47AC-809C-85074A4E7350}" srcOrd="0" destOrd="0" presId="urn:microsoft.com/office/officeart/2005/8/layout/orgChart1"/>
    <dgm:cxn modelId="{AF898177-330F-4C12-BC13-E5C02079A558}" type="presParOf" srcId="{7B1C4C30-4B36-4C3F-9AEE-26CC76DCF16A}" destId="{1E0CCDDD-DA94-48AA-9AF2-605E42E813DB}" srcOrd="1" destOrd="0" presId="urn:microsoft.com/office/officeart/2005/8/layout/orgChart1"/>
    <dgm:cxn modelId="{7742DC8D-5914-480B-B329-BBF4645824DD}" type="presParOf" srcId="{B016AF52-EF24-48EA-B883-B7A6EEBD317C}" destId="{0D2FB71C-9870-4800-99B8-E9BCED327B60}" srcOrd="1" destOrd="0" presId="urn:microsoft.com/office/officeart/2005/8/layout/orgChart1"/>
    <dgm:cxn modelId="{38691ACB-001D-418C-BDC2-C90D733FEDA4}" type="presParOf" srcId="{0D2FB71C-9870-4800-99B8-E9BCED327B60}" destId="{E969B95B-BF5F-4C79-8B06-7BB350822E73}" srcOrd="0" destOrd="0" presId="urn:microsoft.com/office/officeart/2005/8/layout/orgChart1"/>
    <dgm:cxn modelId="{FA55CAFC-5D5C-4215-AC78-297F73214426}" type="presParOf" srcId="{0D2FB71C-9870-4800-99B8-E9BCED327B60}" destId="{E4E41682-C694-4778-9E28-FB0026AF1386}" srcOrd="1" destOrd="0" presId="urn:microsoft.com/office/officeart/2005/8/layout/orgChart1"/>
    <dgm:cxn modelId="{D47D3EB3-E663-4837-8DE1-ECC940E5ADF5}" type="presParOf" srcId="{E4E41682-C694-4778-9E28-FB0026AF1386}" destId="{6A851532-5B0C-4B9B-9ECB-B4597A40A85E}" srcOrd="0" destOrd="0" presId="urn:microsoft.com/office/officeart/2005/8/layout/orgChart1"/>
    <dgm:cxn modelId="{1C3A5361-6A5A-42C4-B40F-64FB2F42630C}" type="presParOf" srcId="{6A851532-5B0C-4B9B-9ECB-B4597A40A85E}" destId="{C6932264-56D3-4DF9-8D2C-021A743567DD}" srcOrd="0" destOrd="0" presId="urn:microsoft.com/office/officeart/2005/8/layout/orgChart1"/>
    <dgm:cxn modelId="{5866ADC3-F1F3-40C1-9BBF-ECB122340CF2}" type="presParOf" srcId="{6A851532-5B0C-4B9B-9ECB-B4597A40A85E}" destId="{DD9CCF90-B2E3-4925-9055-02B847306E59}" srcOrd="1" destOrd="0" presId="urn:microsoft.com/office/officeart/2005/8/layout/orgChart1"/>
    <dgm:cxn modelId="{C120CE4D-752E-4875-BD65-F233842C5CDB}" type="presParOf" srcId="{E4E41682-C694-4778-9E28-FB0026AF1386}" destId="{9C95F66F-D879-42DF-941B-74DE22032C94}" srcOrd="1" destOrd="0" presId="urn:microsoft.com/office/officeart/2005/8/layout/orgChart1"/>
    <dgm:cxn modelId="{29EEA91E-4221-4531-87F2-D075017003DC}" type="presParOf" srcId="{E4E41682-C694-4778-9E28-FB0026AF1386}" destId="{4AFB5385-10EC-475F-B2F8-B6CCD7D7E4D2}" srcOrd="2" destOrd="0" presId="urn:microsoft.com/office/officeart/2005/8/layout/orgChart1"/>
    <dgm:cxn modelId="{E8B5E772-99F3-4934-8179-DF36A4C50871}" type="presParOf" srcId="{0D2FB71C-9870-4800-99B8-E9BCED327B60}" destId="{30D36E63-1B7A-4999-B032-672C2B5B93C8}" srcOrd="2" destOrd="0" presId="urn:microsoft.com/office/officeart/2005/8/layout/orgChart1"/>
    <dgm:cxn modelId="{C0FE98FF-9EB0-4D7D-A810-788041FFCFD5}" type="presParOf" srcId="{0D2FB71C-9870-4800-99B8-E9BCED327B60}" destId="{3A929C0E-81FB-4E7A-BE59-62AB48FCBF88}" srcOrd="3" destOrd="0" presId="urn:microsoft.com/office/officeart/2005/8/layout/orgChart1"/>
    <dgm:cxn modelId="{0C70736E-7B2E-4970-8372-04387EEF9658}" type="presParOf" srcId="{3A929C0E-81FB-4E7A-BE59-62AB48FCBF88}" destId="{010BE033-EC63-4A67-B243-9D80E2AA578A}" srcOrd="0" destOrd="0" presId="urn:microsoft.com/office/officeart/2005/8/layout/orgChart1"/>
    <dgm:cxn modelId="{6AD609CE-B897-4149-B9F4-A55C0AE572AF}" type="presParOf" srcId="{010BE033-EC63-4A67-B243-9D80E2AA578A}" destId="{699B182D-F671-424A-9A63-23C7C7B4D8F7}" srcOrd="0" destOrd="0" presId="urn:microsoft.com/office/officeart/2005/8/layout/orgChart1"/>
    <dgm:cxn modelId="{DACCEE5A-DC7C-4272-9C9A-F882AA9B5483}" type="presParOf" srcId="{010BE033-EC63-4A67-B243-9D80E2AA578A}" destId="{4803F6AC-2159-4596-8F72-02FB462BBC70}" srcOrd="1" destOrd="0" presId="urn:microsoft.com/office/officeart/2005/8/layout/orgChart1"/>
    <dgm:cxn modelId="{88AF83A6-9B39-40FC-8629-36793171EF4C}" type="presParOf" srcId="{3A929C0E-81FB-4E7A-BE59-62AB48FCBF88}" destId="{86B10551-3A3E-41F6-A685-E06E17DB6929}" srcOrd="1" destOrd="0" presId="urn:microsoft.com/office/officeart/2005/8/layout/orgChart1"/>
    <dgm:cxn modelId="{CC6C7387-FF04-45D1-95CC-B446972BC172}" type="presParOf" srcId="{3A929C0E-81FB-4E7A-BE59-62AB48FCBF88}" destId="{209ADEF1-73DF-445E-821E-111D0C0ECE48}" srcOrd="2" destOrd="0" presId="urn:microsoft.com/office/officeart/2005/8/layout/orgChart1"/>
    <dgm:cxn modelId="{942B23B4-8F74-432B-8354-33699CBD657E}" type="presParOf" srcId="{0D2FB71C-9870-4800-99B8-E9BCED327B60}" destId="{0513B296-BBE7-4146-9B5C-663C91C280DB}" srcOrd="4" destOrd="0" presId="urn:microsoft.com/office/officeart/2005/8/layout/orgChart1"/>
    <dgm:cxn modelId="{66F9FF8A-3BA5-44E7-AECB-7C4CA1199F96}" type="presParOf" srcId="{0D2FB71C-9870-4800-99B8-E9BCED327B60}" destId="{B8858D5F-7F88-42D1-9217-E0B98A94FD47}" srcOrd="5" destOrd="0" presId="urn:microsoft.com/office/officeart/2005/8/layout/orgChart1"/>
    <dgm:cxn modelId="{494D809B-6CE7-4634-A258-0786AC752FB0}" type="presParOf" srcId="{B8858D5F-7F88-42D1-9217-E0B98A94FD47}" destId="{24AEDB05-C598-4D63-A24B-484993FF08B2}" srcOrd="0" destOrd="0" presId="urn:microsoft.com/office/officeart/2005/8/layout/orgChart1"/>
    <dgm:cxn modelId="{865F6154-9496-4586-B9FD-95B7B059D674}" type="presParOf" srcId="{24AEDB05-C598-4D63-A24B-484993FF08B2}" destId="{F470B49C-FBB9-45ED-A78A-B1F71A6D76AD}" srcOrd="0" destOrd="0" presId="urn:microsoft.com/office/officeart/2005/8/layout/orgChart1"/>
    <dgm:cxn modelId="{8969DD26-9911-48F5-8458-1127934D5FE4}" type="presParOf" srcId="{24AEDB05-C598-4D63-A24B-484993FF08B2}" destId="{81388B3A-C50A-4FAA-BF40-8230A03C9B9A}" srcOrd="1" destOrd="0" presId="urn:microsoft.com/office/officeart/2005/8/layout/orgChart1"/>
    <dgm:cxn modelId="{08DFCB21-B84F-4FF2-9AC6-D3E524FF8043}" type="presParOf" srcId="{B8858D5F-7F88-42D1-9217-E0B98A94FD47}" destId="{CB51F144-535B-4F4B-BBE8-2C80F6F7F0F9}" srcOrd="1" destOrd="0" presId="urn:microsoft.com/office/officeart/2005/8/layout/orgChart1"/>
    <dgm:cxn modelId="{73FBB1CE-13D3-4A6A-BAB2-E72D27A711D6}" type="presParOf" srcId="{B8858D5F-7F88-42D1-9217-E0B98A94FD47}" destId="{259FE6F9-A254-4881-B500-D9A71E5D65D2}" srcOrd="2" destOrd="0" presId="urn:microsoft.com/office/officeart/2005/8/layout/orgChart1"/>
    <dgm:cxn modelId="{6BBFF0AC-0DBF-4871-96C3-B74F162FC32B}" type="presParOf" srcId="{0D2FB71C-9870-4800-99B8-E9BCED327B60}" destId="{47F1120A-A083-49E8-9E5C-CE1F6413F9BB}" srcOrd="6" destOrd="0" presId="urn:microsoft.com/office/officeart/2005/8/layout/orgChart1"/>
    <dgm:cxn modelId="{26642054-55E5-4EA7-868B-E089D1BA8C54}" type="presParOf" srcId="{0D2FB71C-9870-4800-99B8-E9BCED327B60}" destId="{59794096-81C7-41A7-8BC8-A5D7F3FC85FE}" srcOrd="7" destOrd="0" presId="urn:microsoft.com/office/officeart/2005/8/layout/orgChart1"/>
    <dgm:cxn modelId="{E76C755E-724A-45F7-9DEA-15F915CE2C40}" type="presParOf" srcId="{59794096-81C7-41A7-8BC8-A5D7F3FC85FE}" destId="{22EBDFD3-E422-4965-BF60-7CDD7822315D}" srcOrd="0" destOrd="0" presId="urn:microsoft.com/office/officeart/2005/8/layout/orgChart1"/>
    <dgm:cxn modelId="{116D1183-1703-400C-9CE3-160CD76A28B2}" type="presParOf" srcId="{22EBDFD3-E422-4965-BF60-7CDD7822315D}" destId="{20731877-7187-429D-B3A8-7DECDA5070FE}" srcOrd="0" destOrd="0" presId="urn:microsoft.com/office/officeart/2005/8/layout/orgChart1"/>
    <dgm:cxn modelId="{ADFA3863-8D80-4D91-A272-5ECFA11DAC72}" type="presParOf" srcId="{22EBDFD3-E422-4965-BF60-7CDD7822315D}" destId="{B64ED020-C463-49FF-8094-016150B2A60C}" srcOrd="1" destOrd="0" presId="urn:microsoft.com/office/officeart/2005/8/layout/orgChart1"/>
    <dgm:cxn modelId="{7F962529-832E-4A03-A1D4-D5D3CC6227B9}" type="presParOf" srcId="{59794096-81C7-41A7-8BC8-A5D7F3FC85FE}" destId="{EA9BAB9B-5E77-475B-AE9C-0CBD4E07AB33}" srcOrd="1" destOrd="0" presId="urn:microsoft.com/office/officeart/2005/8/layout/orgChart1"/>
    <dgm:cxn modelId="{4B38EB26-1923-49FD-99FC-969873E24555}" type="presParOf" srcId="{59794096-81C7-41A7-8BC8-A5D7F3FC85FE}" destId="{FB48E384-92C0-4C77-BF57-00E2BB453755}" srcOrd="2" destOrd="0" presId="urn:microsoft.com/office/officeart/2005/8/layout/orgChart1"/>
    <dgm:cxn modelId="{5F1B66B2-2BC6-4018-95A6-A98FC1F93ED8}" type="presParOf" srcId="{0D2FB71C-9870-4800-99B8-E9BCED327B60}" destId="{5FD6F4FB-DDB8-4ECF-B98C-0BEC42938CD3}" srcOrd="8" destOrd="0" presId="urn:microsoft.com/office/officeart/2005/8/layout/orgChart1"/>
    <dgm:cxn modelId="{3A5BF3C7-BB75-4075-8A34-A5B186AAB55F}" type="presParOf" srcId="{0D2FB71C-9870-4800-99B8-E9BCED327B60}" destId="{09C1AAE6-97D2-45F0-AA5F-3BDB24EEADC8}" srcOrd="9" destOrd="0" presId="urn:microsoft.com/office/officeart/2005/8/layout/orgChart1"/>
    <dgm:cxn modelId="{263677F2-AA2F-4312-9D93-37CA994B1113}" type="presParOf" srcId="{09C1AAE6-97D2-45F0-AA5F-3BDB24EEADC8}" destId="{8DBA0E44-5570-43AF-832B-1A54869FDB2A}" srcOrd="0" destOrd="0" presId="urn:microsoft.com/office/officeart/2005/8/layout/orgChart1"/>
    <dgm:cxn modelId="{E207F3EF-9DAC-478D-BB23-ACDDB8B32253}" type="presParOf" srcId="{8DBA0E44-5570-43AF-832B-1A54869FDB2A}" destId="{1A8B11D2-3342-43F5-B281-F26FA4BDE16F}" srcOrd="0" destOrd="0" presId="urn:microsoft.com/office/officeart/2005/8/layout/orgChart1"/>
    <dgm:cxn modelId="{05E7353B-551F-45BE-8222-190FCFB5DA9B}" type="presParOf" srcId="{8DBA0E44-5570-43AF-832B-1A54869FDB2A}" destId="{B991F8E7-E96B-4D05-AE80-B5FE9647EED7}" srcOrd="1" destOrd="0" presId="urn:microsoft.com/office/officeart/2005/8/layout/orgChart1"/>
    <dgm:cxn modelId="{E4741183-6600-48BB-AE6E-C19EF9116830}" type="presParOf" srcId="{09C1AAE6-97D2-45F0-AA5F-3BDB24EEADC8}" destId="{27FC1422-098A-4B73-9241-2A583A938843}" srcOrd="1" destOrd="0" presId="urn:microsoft.com/office/officeart/2005/8/layout/orgChart1"/>
    <dgm:cxn modelId="{94A5AC17-96DF-41DF-94FC-9DC20E640220}" type="presParOf" srcId="{09C1AAE6-97D2-45F0-AA5F-3BDB24EEADC8}" destId="{9D794841-7694-453F-AF78-B2CE32D1AA95}" srcOrd="2" destOrd="0" presId="urn:microsoft.com/office/officeart/2005/8/layout/orgChart1"/>
    <dgm:cxn modelId="{572E167F-8E93-4DC0-9214-B30738C75B36}" type="presParOf" srcId="{0D2FB71C-9870-4800-99B8-E9BCED327B60}" destId="{2A44425D-D7C8-40F6-A0F1-CB9AD593B73B}" srcOrd="10" destOrd="0" presId="urn:microsoft.com/office/officeart/2005/8/layout/orgChart1"/>
    <dgm:cxn modelId="{A09F03FC-3A07-47F9-9072-7E3EE4CCEC9F}" type="presParOf" srcId="{0D2FB71C-9870-4800-99B8-E9BCED327B60}" destId="{425919B7-9E1B-4C61-BBA5-3B5568B3D22D}" srcOrd="11" destOrd="0" presId="urn:microsoft.com/office/officeart/2005/8/layout/orgChart1"/>
    <dgm:cxn modelId="{508BD604-2165-4794-955F-97AAC062CB5E}" type="presParOf" srcId="{425919B7-9E1B-4C61-BBA5-3B5568B3D22D}" destId="{FC05B788-26A6-4CD1-9579-8AD4F5122318}" srcOrd="0" destOrd="0" presId="urn:microsoft.com/office/officeart/2005/8/layout/orgChart1"/>
    <dgm:cxn modelId="{98C8242C-A6B2-4F37-9444-3B86CD294F91}" type="presParOf" srcId="{FC05B788-26A6-4CD1-9579-8AD4F5122318}" destId="{043824C3-24DA-4A30-A957-CD48C867E7EB}" srcOrd="0" destOrd="0" presId="urn:microsoft.com/office/officeart/2005/8/layout/orgChart1"/>
    <dgm:cxn modelId="{3D7E222F-D5BC-4B0B-9079-0A27DFD20DDA}" type="presParOf" srcId="{FC05B788-26A6-4CD1-9579-8AD4F5122318}" destId="{8A5A4975-D139-4DFF-BF92-2C4891FCFD7D}" srcOrd="1" destOrd="0" presId="urn:microsoft.com/office/officeart/2005/8/layout/orgChart1"/>
    <dgm:cxn modelId="{7BD860B5-E06B-46B1-B7C5-63841E0F27DD}" type="presParOf" srcId="{425919B7-9E1B-4C61-BBA5-3B5568B3D22D}" destId="{C4C88432-A0E0-466E-93A2-DB3F93B5EF73}" srcOrd="1" destOrd="0" presId="urn:microsoft.com/office/officeart/2005/8/layout/orgChart1"/>
    <dgm:cxn modelId="{14FDD7EF-5699-4B7A-9E43-C4EAAF755914}" type="presParOf" srcId="{425919B7-9E1B-4C61-BBA5-3B5568B3D22D}" destId="{A7715335-09D7-4946-B779-A42808A7EC71}" srcOrd="2" destOrd="0" presId="urn:microsoft.com/office/officeart/2005/8/layout/orgChart1"/>
    <dgm:cxn modelId="{235AA496-3AC5-48FE-94C0-16F68655383E}" type="presParOf" srcId="{0D2FB71C-9870-4800-99B8-E9BCED327B60}" destId="{D9E992A6-A633-4754-A876-B06BF9F7A37B}" srcOrd="12" destOrd="0" presId="urn:microsoft.com/office/officeart/2005/8/layout/orgChart1"/>
    <dgm:cxn modelId="{B33BF6FB-8038-4EC8-8388-E45AFC1E7B79}" type="presParOf" srcId="{0D2FB71C-9870-4800-99B8-E9BCED327B60}" destId="{C8EFECE9-7CC0-4C94-BC3C-8CE7CF6FB630}" srcOrd="13" destOrd="0" presId="urn:microsoft.com/office/officeart/2005/8/layout/orgChart1"/>
    <dgm:cxn modelId="{FAC51A7C-7E11-4261-A236-34C87979F289}" type="presParOf" srcId="{C8EFECE9-7CC0-4C94-BC3C-8CE7CF6FB630}" destId="{B0F2454C-1505-45FF-95F9-BF53329A8B26}" srcOrd="0" destOrd="0" presId="urn:microsoft.com/office/officeart/2005/8/layout/orgChart1"/>
    <dgm:cxn modelId="{E961883D-F777-4EC1-A8A4-5EB4CE4306AD}" type="presParOf" srcId="{B0F2454C-1505-45FF-95F9-BF53329A8B26}" destId="{93FCE660-DDC3-4AB5-B916-99CEE63A83BE}" srcOrd="0" destOrd="0" presId="urn:microsoft.com/office/officeart/2005/8/layout/orgChart1"/>
    <dgm:cxn modelId="{E7091FE1-0118-462C-A93F-FF195CE6CEFE}" type="presParOf" srcId="{B0F2454C-1505-45FF-95F9-BF53329A8B26}" destId="{A9406A68-DF67-4473-ACC1-B0C98CF9EF57}" srcOrd="1" destOrd="0" presId="urn:microsoft.com/office/officeart/2005/8/layout/orgChart1"/>
    <dgm:cxn modelId="{927B0B35-8747-45F9-A107-A414A0A07C13}" type="presParOf" srcId="{C8EFECE9-7CC0-4C94-BC3C-8CE7CF6FB630}" destId="{CD10DD08-9C09-4AEA-82BC-62178C8FAE16}" srcOrd="1" destOrd="0" presId="urn:microsoft.com/office/officeart/2005/8/layout/orgChart1"/>
    <dgm:cxn modelId="{C51DAFB0-7CB9-4107-BBFA-4951F5EFBA2B}" type="presParOf" srcId="{C8EFECE9-7CC0-4C94-BC3C-8CE7CF6FB630}" destId="{C89D0D45-3664-44AC-BDAC-3B543E36099A}" srcOrd="2" destOrd="0" presId="urn:microsoft.com/office/officeart/2005/8/layout/orgChart1"/>
    <dgm:cxn modelId="{D473A550-D86D-4D80-B5E4-4297EB8EBB39}" type="presParOf" srcId="{B016AF52-EF24-48EA-B883-B7A6EEBD317C}" destId="{A2B46BB7-F381-46BB-BC2D-7BE85501FBCC}" srcOrd="2" destOrd="0" presId="urn:microsoft.com/office/officeart/2005/8/layout/orgChart1"/>
    <dgm:cxn modelId="{E3761B3D-98B4-412D-B691-C0D72F332FA6}" type="presParOf" srcId="{FB279467-F3D0-4A2A-9DFD-7DF66D00DCAB}" destId="{D141E0DF-F6A8-42EF-9C5A-D0A3BD548DD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A21CE9-A7A8-4EE0-8D08-C3300B5032C0}"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D9A67AE4-4575-43B7-A6F3-0BD58EA221F0}">
      <dgm:prSet phldrT="[Text]" custT="1"/>
      <dgm:spPr>
        <a:xfrm>
          <a:off x="6871" y="76796"/>
          <a:ext cx="11569409" cy="761060"/>
        </a:xfrm>
        <a:solidFill>
          <a:srgbClr val="679F81"/>
        </a:solidFill>
        <a:ln w="12700" cap="flat" cmpd="sng" algn="ctr">
          <a:noFill/>
          <a:prstDash val="solid"/>
          <a:miter lim="800000"/>
        </a:ln>
        <a:effectLst/>
      </dgm:spPr>
      <dgm:t>
        <a:bodyPr/>
        <a:lstStyle/>
        <a:p>
          <a:r>
            <a:rPr lang="en-ZA" sz="2000" b="1" dirty="0" smtClean="0">
              <a:solidFill>
                <a:sysClr val="window" lastClr="FFFFFF"/>
              </a:solidFill>
              <a:latin typeface="Lato"/>
              <a:ea typeface="+mn-ea"/>
              <a:cs typeface="+mn-cs"/>
            </a:rPr>
            <a:t>Solution Statement Support:</a:t>
          </a:r>
        </a:p>
        <a:p>
          <a:r>
            <a:rPr lang="en-ZA" sz="2000" b="1" dirty="0" smtClean="0">
              <a:solidFill>
                <a:sysClr val="window" lastClr="FFFFFF"/>
              </a:solidFill>
              <a:latin typeface="Lato"/>
              <a:ea typeface="+mn-ea"/>
              <a:cs typeface="+mn-cs"/>
            </a:rPr>
            <a:t>High performing ethical organisation</a:t>
          </a:r>
          <a:endParaRPr lang="en-GB" sz="2000" b="1" dirty="0">
            <a:solidFill>
              <a:sysClr val="window" lastClr="FFFFFF"/>
            </a:solidFill>
            <a:latin typeface="Lato"/>
            <a:ea typeface="+mn-ea"/>
            <a:cs typeface="+mn-cs"/>
          </a:endParaRPr>
        </a:p>
      </dgm:t>
    </dgm:pt>
    <dgm:pt modelId="{39C1069B-DA89-4843-9365-C76A128E71C3}" type="parTrans" cxnId="{0DFC5457-C539-4339-BB3F-CF4545C5A9C3}">
      <dgm:prSet/>
      <dgm:spPr/>
      <dgm:t>
        <a:bodyPr/>
        <a:lstStyle/>
        <a:p>
          <a:endParaRPr lang="en-GB"/>
        </a:p>
      </dgm:t>
    </dgm:pt>
    <dgm:pt modelId="{396C6420-8006-4594-B3E6-C40C0F01C177}" type="sibTrans" cxnId="{0DFC5457-C539-4339-BB3F-CF4545C5A9C3}">
      <dgm:prSet/>
      <dgm:spPr/>
      <dgm:t>
        <a:bodyPr/>
        <a:lstStyle/>
        <a:p>
          <a:endParaRPr lang="en-GB"/>
        </a:p>
      </dgm:t>
    </dgm:pt>
    <dgm:pt modelId="{3FA8E52E-41A8-4B79-88F3-ABDEBF17CD17}">
      <dgm:prSet phldrT="[Text]" custT="1"/>
      <dgm:spPr>
        <a:xfrm>
          <a:off x="32817" y="963521"/>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a:t>
          </a:r>
        </a:p>
        <a:p>
          <a:pPr>
            <a:spcAft>
              <a:spcPts val="0"/>
            </a:spcAft>
          </a:pPr>
          <a:r>
            <a:rPr lang="en-ZA" sz="1300" dirty="0" smtClean="0">
              <a:solidFill>
                <a:sysClr val="windowText" lastClr="000000"/>
              </a:solidFill>
              <a:latin typeface="Lato"/>
              <a:ea typeface="+mn-ea"/>
              <a:cs typeface="+mn-cs"/>
            </a:rPr>
            <a:t>Automation and integration of systems</a:t>
          </a:r>
          <a:endParaRPr lang="en-GB" sz="1300" dirty="0">
            <a:solidFill>
              <a:sysClr val="windowText" lastClr="000000"/>
            </a:solidFill>
            <a:latin typeface="Lato"/>
            <a:ea typeface="+mn-ea"/>
            <a:cs typeface="+mn-cs"/>
          </a:endParaRPr>
        </a:p>
      </dgm:t>
    </dgm:pt>
    <dgm:pt modelId="{3DAC40A4-5971-441F-9133-8187AFA97BC7}" type="parTrans" cxnId="{34619154-2874-42E1-B530-942BF7DE9588}">
      <dgm:prSet/>
      <dgm:spPr>
        <a:xfrm>
          <a:off x="1407648" y="837857"/>
          <a:ext cx="4383927" cy="125664"/>
        </a:xfrm>
        <a:noFill/>
        <a:ln w="12700" cap="flat" cmpd="sng" algn="ctr">
          <a:noFill/>
          <a:prstDash val="solid"/>
          <a:miter lim="800000"/>
        </a:ln>
        <a:effectLst/>
      </dgm:spPr>
      <dgm:t>
        <a:bodyPr/>
        <a:lstStyle/>
        <a:p>
          <a:endParaRPr lang="en-GB"/>
        </a:p>
      </dgm:t>
    </dgm:pt>
    <dgm:pt modelId="{C6B1D5F1-D291-4575-A8D3-D12B8411F8B8}" type="sibTrans" cxnId="{34619154-2874-42E1-B530-942BF7DE9588}">
      <dgm:prSet/>
      <dgm:spPr/>
      <dgm:t>
        <a:bodyPr/>
        <a:lstStyle/>
        <a:p>
          <a:endParaRPr lang="en-GB"/>
        </a:p>
      </dgm:t>
    </dgm:pt>
    <dgm:pt modelId="{C210B5A7-FC8F-4CFB-888B-78A66105B5E3}">
      <dgm:prSet phldrT="[Text]" custT="1"/>
      <dgm:spPr>
        <a:xfrm>
          <a:off x="2947397" y="960235"/>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 </a:t>
          </a:r>
        </a:p>
        <a:p>
          <a:pPr>
            <a:spcAft>
              <a:spcPts val="0"/>
            </a:spcAft>
          </a:pPr>
          <a:r>
            <a:rPr lang="en-ZA" sz="1300" dirty="0" smtClean="0">
              <a:solidFill>
                <a:sysClr val="windowText" lastClr="000000"/>
              </a:solidFill>
              <a:latin typeface="Lato"/>
              <a:ea typeface="+mn-ea"/>
              <a:cs typeface="+mn-cs"/>
            </a:rPr>
            <a:t>Strategic Human Resource Management </a:t>
          </a:r>
          <a:endParaRPr lang="en-GB" sz="1300" dirty="0">
            <a:solidFill>
              <a:sysClr val="windowText" lastClr="000000"/>
            </a:solidFill>
            <a:latin typeface="Lato"/>
            <a:ea typeface="+mn-ea"/>
            <a:cs typeface="+mn-cs"/>
          </a:endParaRPr>
        </a:p>
      </dgm:t>
    </dgm:pt>
    <dgm:pt modelId="{C86C1488-BD31-4F23-97DB-7C2B89FF3AD9}" type="parTrans" cxnId="{7CE4B070-D832-43BE-B048-E7B02A1AFA58}">
      <dgm:prSet/>
      <dgm:spPr>
        <a:xfrm>
          <a:off x="4322228" y="837857"/>
          <a:ext cx="1469347" cy="122377"/>
        </a:xfrm>
        <a:noFill/>
        <a:ln w="12700" cap="flat" cmpd="sng" algn="ctr">
          <a:noFill/>
          <a:prstDash val="solid"/>
          <a:miter lim="800000"/>
        </a:ln>
        <a:effectLst/>
      </dgm:spPr>
      <dgm:t>
        <a:bodyPr/>
        <a:lstStyle/>
        <a:p>
          <a:endParaRPr lang="en-GB"/>
        </a:p>
      </dgm:t>
    </dgm:pt>
    <dgm:pt modelId="{FFD25E3B-8967-48DE-80D4-340F432E9169}" type="sibTrans" cxnId="{7CE4B070-D832-43BE-B048-E7B02A1AFA58}">
      <dgm:prSet/>
      <dgm:spPr/>
      <dgm:t>
        <a:bodyPr/>
        <a:lstStyle/>
        <a:p>
          <a:endParaRPr lang="en-GB"/>
        </a:p>
      </dgm:t>
    </dgm:pt>
    <dgm:pt modelId="{E506AFA8-1B82-43BC-98C8-F80DC54DD35B}">
      <dgm:prSet phldrT="[Text]" custT="1"/>
      <dgm:spPr>
        <a:xfrm>
          <a:off x="110905" y="1633808"/>
          <a:ext cx="2653928" cy="710325"/>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Automation of business process for accurate, reliable, timeous and relevant information</a:t>
          </a:r>
          <a:endParaRPr lang="en-GB" sz="1200" dirty="0" smtClean="0">
            <a:solidFill>
              <a:sysClr val="windowText" lastClr="000000"/>
            </a:solidFill>
            <a:latin typeface="Lato"/>
            <a:ea typeface="+mn-ea"/>
            <a:cs typeface="+mn-cs"/>
          </a:endParaRPr>
        </a:p>
      </dgm:t>
    </dgm:pt>
    <dgm:pt modelId="{EF5E585F-3673-4CC4-9E22-D48DF4FE27E6}" type="parTrans" cxnId="{557D6E5E-59E9-43D7-8845-F7FB07D1F166}">
      <dgm:prSet/>
      <dgm:spPr>
        <a:xfrm>
          <a:off x="110905" y="1511468"/>
          <a:ext cx="196878" cy="477503"/>
        </a:xfrm>
        <a:noFill/>
        <a:ln w="12700" cap="flat" cmpd="sng" algn="ctr">
          <a:noFill/>
          <a:prstDash val="solid"/>
          <a:miter lim="800000"/>
        </a:ln>
        <a:effectLst/>
      </dgm:spPr>
      <dgm:t>
        <a:bodyPr/>
        <a:lstStyle/>
        <a:p>
          <a:endParaRPr lang="en-GB"/>
        </a:p>
      </dgm:t>
    </dgm:pt>
    <dgm:pt modelId="{1E24B422-6D41-454D-BA4B-D634E2BDF376}" type="sibTrans" cxnId="{557D6E5E-59E9-43D7-8845-F7FB07D1F166}">
      <dgm:prSet/>
      <dgm:spPr/>
      <dgm:t>
        <a:bodyPr/>
        <a:lstStyle/>
        <a:p>
          <a:endParaRPr lang="en-GB"/>
        </a:p>
      </dgm:t>
    </dgm:pt>
    <dgm:pt modelId="{2758B6C3-6786-4A0A-94BA-3C0B87000D62}">
      <dgm:prSet phldrT="[Text]" custT="1"/>
      <dgm:spPr>
        <a:xfrm>
          <a:off x="122466" y="2452888"/>
          <a:ext cx="2653928" cy="5524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Single view of offender (Integrated Inmate Management System)</a:t>
          </a:r>
          <a:endParaRPr lang="en-GB" sz="1200" dirty="0">
            <a:solidFill>
              <a:sysClr val="windowText" lastClr="000000"/>
            </a:solidFill>
            <a:latin typeface="Lato"/>
            <a:ea typeface="+mn-ea"/>
            <a:cs typeface="+mn-cs"/>
          </a:endParaRPr>
        </a:p>
      </dgm:t>
    </dgm:pt>
    <dgm:pt modelId="{9C577F41-001A-42AE-AABF-54268D15A364}" type="parTrans" cxnId="{CBEFB157-E296-4AF9-B054-3EE90D429E38}">
      <dgm:prSet/>
      <dgm:spPr>
        <a:xfrm>
          <a:off x="122466" y="1511468"/>
          <a:ext cx="185316" cy="1217657"/>
        </a:xfrm>
        <a:noFill/>
        <a:ln w="12700" cap="flat" cmpd="sng" algn="ctr">
          <a:noFill/>
          <a:prstDash val="solid"/>
          <a:miter lim="800000"/>
        </a:ln>
        <a:effectLst/>
      </dgm:spPr>
      <dgm:t>
        <a:bodyPr/>
        <a:lstStyle/>
        <a:p>
          <a:endParaRPr lang="en-GB"/>
        </a:p>
      </dgm:t>
    </dgm:pt>
    <dgm:pt modelId="{0F2659BC-333B-4BFD-B380-C47321237054}" type="sibTrans" cxnId="{CBEFB157-E296-4AF9-B054-3EE90D429E38}">
      <dgm:prSet/>
      <dgm:spPr/>
      <dgm:t>
        <a:bodyPr/>
        <a:lstStyle/>
        <a:p>
          <a:endParaRPr lang="en-GB"/>
        </a:p>
      </dgm:t>
    </dgm:pt>
    <dgm:pt modelId="{2F5C0CB3-A347-4DB6-A843-8920EBFA59B6}">
      <dgm:prSet phldrT="[Text]" custT="1"/>
      <dgm:spPr>
        <a:xfrm>
          <a:off x="122466" y="3103935"/>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Digitalise identity for offenders, officials, visitors, stakeholders</a:t>
          </a:r>
        </a:p>
      </dgm:t>
    </dgm:pt>
    <dgm:pt modelId="{6FA0B268-20E6-499D-A943-270BC5C30AC9}" type="parTrans" cxnId="{4D0D2DBF-09D6-4DEC-9CC7-E883F97C5197}">
      <dgm:prSet/>
      <dgm:spPr>
        <a:xfrm>
          <a:off x="122466" y="1511468"/>
          <a:ext cx="185316" cy="1875146"/>
        </a:xfrm>
        <a:noFill/>
        <a:ln w="12700" cap="flat" cmpd="sng" algn="ctr">
          <a:noFill/>
          <a:prstDash val="solid"/>
          <a:miter lim="800000"/>
        </a:ln>
        <a:effectLst/>
      </dgm:spPr>
      <dgm:t>
        <a:bodyPr/>
        <a:lstStyle/>
        <a:p>
          <a:endParaRPr lang="en-GB"/>
        </a:p>
      </dgm:t>
    </dgm:pt>
    <dgm:pt modelId="{677BD7D6-19D5-4D7B-8449-37BF39C7EDD8}" type="sibTrans" cxnId="{4D0D2DBF-09D6-4DEC-9CC7-E883F97C5197}">
      <dgm:prSet/>
      <dgm:spPr/>
      <dgm:t>
        <a:bodyPr/>
        <a:lstStyle/>
        <a:p>
          <a:endParaRPr lang="en-GB"/>
        </a:p>
      </dgm:t>
    </dgm:pt>
    <dgm:pt modelId="{E59C7045-2EF3-4659-8457-FC2DC2C82928}">
      <dgm:prSet phldrT="[Text]" custT="1"/>
      <dgm:spPr>
        <a:xfrm>
          <a:off x="122466" y="3802794"/>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Integration of security technology and information network.</a:t>
          </a:r>
          <a:endParaRPr lang="en-GB" sz="1400" dirty="0" smtClean="0">
            <a:solidFill>
              <a:sysClr val="windowText" lastClr="000000"/>
            </a:solidFill>
            <a:latin typeface="Lato"/>
            <a:ea typeface="+mn-ea"/>
            <a:cs typeface="+mn-cs"/>
          </a:endParaRPr>
        </a:p>
      </dgm:t>
    </dgm:pt>
    <dgm:pt modelId="{B0DC9A8E-7A12-4BF0-8A96-882866292D90}" type="parTrans" cxnId="{24106185-18D9-48B1-AAE2-4FC69831F042}">
      <dgm:prSet/>
      <dgm:spPr>
        <a:xfrm>
          <a:off x="122466" y="1511468"/>
          <a:ext cx="185316" cy="2574006"/>
        </a:xfrm>
        <a:noFill/>
        <a:ln w="12700" cap="flat" cmpd="sng" algn="ctr">
          <a:noFill/>
          <a:prstDash val="solid"/>
          <a:miter lim="800000"/>
        </a:ln>
        <a:effectLst/>
      </dgm:spPr>
      <dgm:t>
        <a:bodyPr/>
        <a:lstStyle/>
        <a:p>
          <a:endParaRPr lang="en-GB"/>
        </a:p>
      </dgm:t>
    </dgm:pt>
    <dgm:pt modelId="{EBD21BEC-BB3F-4363-BD34-812CD6EAD19C}" type="sibTrans" cxnId="{24106185-18D9-48B1-AAE2-4FC69831F042}">
      <dgm:prSet/>
      <dgm:spPr/>
      <dgm:t>
        <a:bodyPr/>
        <a:lstStyle/>
        <a:p>
          <a:endParaRPr lang="en-GB"/>
        </a:p>
      </dgm:t>
    </dgm:pt>
    <dgm:pt modelId="{7741473B-E186-4580-BC20-E482C22F84BC}">
      <dgm:prSet phldrT="[Text]" custT="1"/>
      <dgm:spPr>
        <a:xfrm>
          <a:off x="122466" y="4517607"/>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pgrade and implement security technology</a:t>
          </a:r>
          <a:endParaRPr lang="en-GB" sz="1600" dirty="0" smtClean="0">
            <a:solidFill>
              <a:sysClr val="windowText" lastClr="000000"/>
            </a:solidFill>
            <a:latin typeface="Lato"/>
            <a:ea typeface="+mn-ea"/>
            <a:cs typeface="+mn-cs"/>
          </a:endParaRPr>
        </a:p>
      </dgm:t>
    </dgm:pt>
    <dgm:pt modelId="{AD30EE2C-612E-4D7A-9A9D-63748E547A4E}" type="parTrans" cxnId="{5955092D-3D5D-4A47-A9F2-15D5112DA505}">
      <dgm:prSet/>
      <dgm:spPr>
        <a:xfrm>
          <a:off x="122466" y="1511468"/>
          <a:ext cx="185316" cy="3288818"/>
        </a:xfrm>
        <a:noFill/>
        <a:ln w="12700" cap="flat" cmpd="sng" algn="ctr">
          <a:noFill/>
          <a:prstDash val="solid"/>
          <a:miter lim="800000"/>
        </a:ln>
        <a:effectLst/>
      </dgm:spPr>
      <dgm:t>
        <a:bodyPr/>
        <a:lstStyle/>
        <a:p>
          <a:endParaRPr lang="en-GB"/>
        </a:p>
      </dgm:t>
    </dgm:pt>
    <dgm:pt modelId="{6C4AD7F0-8C67-48D0-A127-C28309A053BC}" type="sibTrans" cxnId="{5955092D-3D5D-4A47-A9F2-15D5112DA505}">
      <dgm:prSet/>
      <dgm:spPr/>
      <dgm:t>
        <a:bodyPr/>
        <a:lstStyle/>
        <a:p>
          <a:endParaRPr lang="en-GB"/>
        </a:p>
      </dgm:t>
    </dgm:pt>
    <dgm:pt modelId="{AC209003-8BA6-44DF-A8F6-9D2C5C73FF0B}">
      <dgm:prSet phldrT="[Text]" custT="1"/>
      <dgm:spPr>
        <a:xfrm>
          <a:off x="122466" y="5196117"/>
          <a:ext cx="2653928" cy="82871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Develop Infrastructure assessment plan to c</a:t>
          </a:r>
          <a:r>
            <a:rPr lang="en-ZA" sz="1200" dirty="0" smtClean="0">
              <a:solidFill>
                <a:sysClr val="windowText" lastClr="000000"/>
              </a:solidFill>
              <a:latin typeface="Lato"/>
              <a:ea typeface="+mn-ea"/>
              <a:cs typeface="+mn-cs"/>
            </a:rPr>
            <a:t>continuously maintain, support and upgrade the IT Infrastructure  </a:t>
          </a:r>
          <a:endParaRPr lang="en-GB" sz="1200" dirty="0">
            <a:solidFill>
              <a:sysClr val="windowText" lastClr="000000"/>
            </a:solidFill>
            <a:latin typeface="Lato"/>
            <a:ea typeface="+mn-ea"/>
            <a:cs typeface="+mn-cs"/>
          </a:endParaRPr>
        </a:p>
      </dgm:t>
    </dgm:pt>
    <dgm:pt modelId="{E6B68188-F1B4-4DE3-B26E-C5597DBA8B4B}" type="parTrans" cxnId="{B82820CA-B569-4FCD-AF8B-13796FC33CD6}">
      <dgm:prSet/>
      <dgm:spPr>
        <a:xfrm>
          <a:off x="122466" y="1511468"/>
          <a:ext cx="185316" cy="4099005"/>
        </a:xfrm>
        <a:noFill/>
        <a:ln w="12700" cap="flat" cmpd="sng" algn="ctr">
          <a:noFill/>
          <a:prstDash val="solid"/>
          <a:miter lim="800000"/>
        </a:ln>
        <a:effectLst/>
      </dgm:spPr>
      <dgm:t>
        <a:bodyPr/>
        <a:lstStyle/>
        <a:p>
          <a:endParaRPr lang="en-GB"/>
        </a:p>
      </dgm:t>
    </dgm:pt>
    <dgm:pt modelId="{AC6B0107-A7F4-48CD-AA7A-25D3230F9343}" type="sibTrans" cxnId="{B82820CA-B569-4FCD-AF8B-13796FC33CD6}">
      <dgm:prSet/>
      <dgm:spPr/>
      <dgm:t>
        <a:bodyPr/>
        <a:lstStyle/>
        <a:p>
          <a:endParaRPr lang="en-GB"/>
        </a:p>
      </dgm:t>
    </dgm:pt>
    <dgm:pt modelId="{8258131A-64F0-468E-89FA-30CD74677209}">
      <dgm:prSet phldrT="[Text]" custT="1"/>
      <dgm:spPr>
        <a:xfrm>
          <a:off x="3005418" y="1563064"/>
          <a:ext cx="2690278" cy="452848"/>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Full decentralisation of HR functions </a:t>
          </a:r>
          <a:endParaRPr lang="en-GB" sz="1400" dirty="0">
            <a:solidFill>
              <a:sysClr val="windowText" lastClr="000000"/>
            </a:solidFill>
            <a:latin typeface="Lato"/>
            <a:ea typeface="+mn-ea"/>
            <a:cs typeface="+mn-cs"/>
          </a:endParaRPr>
        </a:p>
      </dgm:t>
    </dgm:pt>
    <dgm:pt modelId="{FF33382B-89C8-4B25-8169-CD7550BE112E}" type="parTrans" cxnId="{A61C9F55-6449-4178-9CC6-F1D3CAA7F97D}">
      <dgm:prSet/>
      <dgm:spPr>
        <a:xfrm>
          <a:off x="3005418" y="1508181"/>
          <a:ext cx="216944" cy="281306"/>
        </a:xfrm>
        <a:noFill/>
        <a:ln w="12700" cap="flat" cmpd="sng" algn="ctr">
          <a:noFill/>
          <a:prstDash val="solid"/>
          <a:miter lim="800000"/>
        </a:ln>
        <a:effectLst/>
      </dgm:spPr>
      <dgm:t>
        <a:bodyPr/>
        <a:lstStyle/>
        <a:p>
          <a:endParaRPr lang="en-GB"/>
        </a:p>
      </dgm:t>
    </dgm:pt>
    <dgm:pt modelId="{F2F6720F-1FA0-4D9D-AA63-E6FA9B6536EA}" type="sibTrans" cxnId="{A61C9F55-6449-4178-9CC6-F1D3CAA7F97D}">
      <dgm:prSet/>
      <dgm:spPr/>
      <dgm:t>
        <a:bodyPr/>
        <a:lstStyle/>
        <a:p>
          <a:endParaRPr lang="en-GB"/>
        </a:p>
      </dgm:t>
    </dgm:pt>
    <dgm:pt modelId="{DB7FB121-89FA-4FDA-BA06-6EB92D692684}">
      <dgm:prSet phldrT="[Text]" custT="1"/>
      <dgm:spPr>
        <a:xfrm>
          <a:off x="3019640" y="2070118"/>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Consistent implementation of HR directives</a:t>
          </a:r>
          <a:endParaRPr lang="en-GB" sz="1200" dirty="0">
            <a:solidFill>
              <a:sysClr val="windowText" lastClr="000000"/>
            </a:solidFill>
            <a:latin typeface="Lato"/>
            <a:ea typeface="+mn-ea"/>
            <a:cs typeface="+mn-cs"/>
          </a:endParaRPr>
        </a:p>
      </dgm:t>
    </dgm:pt>
    <dgm:pt modelId="{FD01D34D-5E0D-46CB-A169-082DA7DAD974}" type="parTrans" cxnId="{5E05D01C-86C1-4D78-9891-28D3BB9C2A58}">
      <dgm:prSet/>
      <dgm:spPr>
        <a:xfrm>
          <a:off x="3019640" y="1508181"/>
          <a:ext cx="202723" cy="788523"/>
        </a:xfrm>
        <a:noFill/>
        <a:ln w="12700" cap="flat" cmpd="sng" algn="ctr">
          <a:noFill/>
          <a:prstDash val="solid"/>
          <a:miter lim="800000"/>
        </a:ln>
        <a:effectLst/>
      </dgm:spPr>
      <dgm:t>
        <a:bodyPr/>
        <a:lstStyle/>
        <a:p>
          <a:endParaRPr lang="en-GB"/>
        </a:p>
      </dgm:t>
    </dgm:pt>
    <dgm:pt modelId="{DD9AF56D-050C-4FCF-866D-9181CC568B13}" type="sibTrans" cxnId="{5E05D01C-86C1-4D78-9891-28D3BB9C2A58}">
      <dgm:prSet/>
      <dgm:spPr/>
      <dgm:t>
        <a:bodyPr/>
        <a:lstStyle/>
        <a:p>
          <a:endParaRPr lang="en-GB"/>
        </a:p>
      </dgm:t>
    </dgm:pt>
    <dgm:pt modelId="{7520F216-6A93-4900-B03B-1CAE7FDB300B}">
      <dgm:prSet phldrT="[Text]" custT="1"/>
      <dgm:spPr>
        <a:xfrm>
          <a:off x="3019640" y="2590012"/>
          <a:ext cx="2690278" cy="533370"/>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050" b="0" dirty="0" smtClean="0">
              <a:solidFill>
                <a:sysClr val="windowText" lastClr="000000"/>
              </a:solidFill>
              <a:latin typeface="Lato"/>
              <a:ea typeface="+mn-ea"/>
              <a:cs typeface="+mn-cs"/>
            </a:rPr>
            <a:t>Approval and implementation of functional, centre-centric organisational structure</a:t>
          </a:r>
          <a:endParaRPr lang="en-GB" sz="1050" b="0" dirty="0">
            <a:solidFill>
              <a:sysClr val="windowText" lastClr="000000"/>
            </a:solidFill>
            <a:latin typeface="Lato"/>
            <a:ea typeface="+mn-ea"/>
            <a:cs typeface="+mn-cs"/>
          </a:endParaRPr>
        </a:p>
      </dgm:t>
    </dgm:pt>
    <dgm:pt modelId="{4D12AA29-479B-49C6-9FF2-D77C0C9C8CC6}" type="parTrans" cxnId="{889E07D5-B3DA-49CD-A216-C666F0E36142}">
      <dgm:prSet/>
      <dgm:spPr>
        <a:xfrm>
          <a:off x="3019640" y="1508181"/>
          <a:ext cx="202723" cy="1348516"/>
        </a:xfrm>
        <a:noFill/>
        <a:ln w="12700" cap="flat" cmpd="sng" algn="ctr">
          <a:noFill/>
          <a:prstDash val="solid"/>
          <a:miter lim="800000"/>
        </a:ln>
        <a:effectLst/>
      </dgm:spPr>
      <dgm:t>
        <a:bodyPr/>
        <a:lstStyle/>
        <a:p>
          <a:endParaRPr lang="en-GB"/>
        </a:p>
      </dgm:t>
    </dgm:pt>
    <dgm:pt modelId="{BA27681F-B8E8-4861-83D6-629C56782002}" type="sibTrans" cxnId="{889E07D5-B3DA-49CD-A216-C666F0E36142}">
      <dgm:prSet/>
      <dgm:spPr/>
      <dgm:t>
        <a:bodyPr/>
        <a:lstStyle/>
        <a:p>
          <a:endParaRPr lang="en-GB"/>
        </a:p>
      </dgm:t>
    </dgm:pt>
    <dgm:pt modelId="{D6F17EA9-E082-43E6-9D65-85C43DB9E61E}">
      <dgm:prSet phldrT="[Text]" custT="1"/>
      <dgm:spPr>
        <a:xfrm>
          <a:off x="3019640" y="3222359"/>
          <a:ext cx="2690278" cy="72386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pPr>
            <a:lnSpc>
              <a:spcPct val="100000"/>
            </a:lnSpc>
            <a:spcAft>
              <a:spcPts val="0"/>
            </a:spcAft>
          </a:pPr>
          <a:r>
            <a:rPr lang="en-ZA" sz="850" dirty="0" smtClean="0">
              <a:solidFill>
                <a:sysClr val="windowText" lastClr="000000"/>
              </a:solidFill>
              <a:latin typeface="Lato"/>
              <a:ea typeface="+mn-ea"/>
              <a:cs typeface="+mn-cs"/>
            </a:rPr>
            <a:t>Partnership with other departments, HEIs, SETAs, Disability Sector, NSG, professional bodies - MoUs; allowances for professionals, extension of Community service programme to include other professions;</a:t>
          </a:r>
          <a:endParaRPr lang="en-GB" sz="850" dirty="0">
            <a:solidFill>
              <a:sysClr val="windowText" lastClr="000000"/>
            </a:solidFill>
            <a:latin typeface="Lato"/>
            <a:ea typeface="+mn-ea"/>
            <a:cs typeface="+mn-cs"/>
          </a:endParaRPr>
        </a:p>
      </dgm:t>
    </dgm:pt>
    <dgm:pt modelId="{9E6D193C-AE2E-4C60-B40E-8A836963A6ED}" type="parTrans" cxnId="{D620C2D2-A93A-4291-AB41-C4C4272825DC}">
      <dgm:prSet/>
      <dgm:spPr>
        <a:xfrm>
          <a:off x="3019640" y="1508181"/>
          <a:ext cx="202723" cy="2076109"/>
        </a:xfrm>
        <a:noFill/>
        <a:ln w="12700" cap="flat" cmpd="sng" algn="ctr">
          <a:noFill/>
          <a:prstDash val="solid"/>
          <a:miter lim="800000"/>
        </a:ln>
        <a:effectLst/>
      </dgm:spPr>
      <dgm:t>
        <a:bodyPr/>
        <a:lstStyle/>
        <a:p>
          <a:endParaRPr lang="en-GB"/>
        </a:p>
      </dgm:t>
    </dgm:pt>
    <dgm:pt modelId="{C6072D5B-B209-4632-BF6C-A85AFBA9582B}" type="sibTrans" cxnId="{D620C2D2-A93A-4291-AB41-C4C4272825DC}">
      <dgm:prSet/>
      <dgm:spPr/>
      <dgm:t>
        <a:bodyPr/>
        <a:lstStyle/>
        <a:p>
          <a:endParaRPr lang="en-GB"/>
        </a:p>
      </dgm:t>
    </dgm:pt>
    <dgm:pt modelId="{A67701C2-2154-49A9-AEE7-642B0F6E0EDA}">
      <dgm:prSet phldrT="[Text]" custT="1"/>
      <dgm:spPr>
        <a:xfrm>
          <a:off x="3019640" y="4029069"/>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b="0" dirty="0" smtClean="0">
              <a:solidFill>
                <a:sysClr val="windowText" lastClr="000000"/>
              </a:solidFill>
              <a:latin typeface="Lato"/>
              <a:ea typeface="+mn-ea"/>
              <a:cs typeface="+mn-cs"/>
            </a:rPr>
            <a:t>Develop and Implement Talent Management Strategy</a:t>
          </a:r>
          <a:endParaRPr lang="en-GB" sz="1050" b="0" dirty="0">
            <a:solidFill>
              <a:sysClr val="windowText" lastClr="000000"/>
            </a:solidFill>
            <a:latin typeface="Lato"/>
            <a:ea typeface="+mn-ea"/>
            <a:cs typeface="+mn-cs"/>
          </a:endParaRPr>
        </a:p>
      </dgm:t>
    </dgm:pt>
    <dgm:pt modelId="{68FB7B31-DBFA-4E20-A5A9-242EBD808708}" type="parTrans" cxnId="{323A174D-A943-481C-AA12-3A02F0E37880}">
      <dgm:prSet/>
      <dgm:spPr>
        <a:xfrm>
          <a:off x="3019640" y="1508181"/>
          <a:ext cx="202723" cy="2747474"/>
        </a:xfrm>
        <a:noFill/>
        <a:ln w="12700" cap="flat" cmpd="sng" algn="ctr">
          <a:noFill/>
          <a:prstDash val="solid"/>
          <a:miter lim="800000"/>
        </a:ln>
        <a:effectLst/>
      </dgm:spPr>
      <dgm:t>
        <a:bodyPr/>
        <a:lstStyle/>
        <a:p>
          <a:endParaRPr lang="en-GB"/>
        </a:p>
      </dgm:t>
    </dgm:pt>
    <dgm:pt modelId="{DE5C4C84-FC53-429E-B431-54377B1406F5}" type="sibTrans" cxnId="{323A174D-A943-481C-AA12-3A02F0E37880}">
      <dgm:prSet/>
      <dgm:spPr/>
      <dgm:t>
        <a:bodyPr/>
        <a:lstStyle/>
        <a:p>
          <a:endParaRPr lang="en-GB"/>
        </a:p>
      </dgm:t>
    </dgm:pt>
    <dgm:pt modelId="{AD9B6B29-76D5-426B-93B6-5BFE62AB229B}">
      <dgm:prSet phldrT="[Text]" custT="1"/>
      <dgm:spPr>
        <a:xfrm>
          <a:off x="3019640" y="4549306"/>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Capacitate the Management Areas and correctional centres</a:t>
          </a:r>
          <a:endParaRPr lang="en-GB" sz="1000" dirty="0">
            <a:solidFill>
              <a:sysClr val="windowText" lastClr="000000"/>
            </a:solidFill>
            <a:latin typeface="Lato"/>
            <a:ea typeface="+mn-ea"/>
            <a:cs typeface="+mn-cs"/>
          </a:endParaRPr>
        </a:p>
      </dgm:t>
    </dgm:pt>
    <dgm:pt modelId="{84939823-9C1A-4A52-8238-B36504B8A531}" type="parTrans" cxnId="{F3C32E4C-5A51-4406-BA74-1A2339D8031A}">
      <dgm:prSet/>
      <dgm:spPr>
        <a:xfrm>
          <a:off x="3019640" y="1508181"/>
          <a:ext cx="202723" cy="3267712"/>
        </a:xfrm>
        <a:noFill/>
        <a:ln w="12700" cap="flat" cmpd="sng" algn="ctr">
          <a:noFill/>
          <a:prstDash val="solid"/>
          <a:miter lim="800000"/>
        </a:ln>
        <a:effectLst/>
      </dgm:spPr>
      <dgm:t>
        <a:bodyPr/>
        <a:lstStyle/>
        <a:p>
          <a:endParaRPr lang="en-GB"/>
        </a:p>
      </dgm:t>
    </dgm:pt>
    <dgm:pt modelId="{15659702-21A2-4FE5-A2E5-6D94C072E3B4}" type="sibTrans" cxnId="{F3C32E4C-5A51-4406-BA74-1A2339D8031A}">
      <dgm:prSet/>
      <dgm:spPr/>
      <dgm:t>
        <a:bodyPr/>
        <a:lstStyle/>
        <a:p>
          <a:endParaRPr lang="en-GB"/>
        </a:p>
      </dgm:t>
    </dgm:pt>
    <dgm:pt modelId="{6FFB1031-0A73-4469-BCC7-5B3640D26945}">
      <dgm:prSet phldrT="[Text]" custT="1"/>
      <dgm:spPr>
        <a:xfrm>
          <a:off x="3016707" y="5074260"/>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Consistently avail adequate budget for the colleges </a:t>
          </a:r>
          <a:endParaRPr lang="en-GB" sz="1050" dirty="0" smtClean="0">
            <a:solidFill>
              <a:sysClr val="windowText" lastClr="000000"/>
            </a:solidFill>
            <a:latin typeface="Lato"/>
            <a:ea typeface="+mn-ea"/>
            <a:cs typeface="+mn-cs"/>
          </a:endParaRPr>
        </a:p>
      </dgm:t>
    </dgm:pt>
    <dgm:pt modelId="{53973304-1394-4263-9745-1D093A3A9643}" type="parTrans" cxnId="{87F18738-F3EE-4F20-8A2F-988E2707B71F}">
      <dgm:prSet/>
      <dgm:spPr>
        <a:xfrm>
          <a:off x="3016707" y="1508181"/>
          <a:ext cx="205655" cy="3792666"/>
        </a:xfrm>
        <a:noFill/>
        <a:ln w="12700" cap="flat" cmpd="sng" algn="ctr">
          <a:noFill/>
          <a:prstDash val="solid"/>
          <a:miter lim="800000"/>
        </a:ln>
        <a:effectLst/>
      </dgm:spPr>
      <dgm:t>
        <a:bodyPr/>
        <a:lstStyle/>
        <a:p>
          <a:endParaRPr lang="en-GB"/>
        </a:p>
      </dgm:t>
    </dgm:pt>
    <dgm:pt modelId="{2B6001BC-975C-47B4-A3DF-5D8858B4F017}" type="sibTrans" cxnId="{87F18738-F3EE-4F20-8A2F-988E2707B71F}">
      <dgm:prSet/>
      <dgm:spPr/>
      <dgm:t>
        <a:bodyPr/>
        <a:lstStyle/>
        <a:p>
          <a:endParaRPr lang="en-GB"/>
        </a:p>
      </dgm:t>
    </dgm:pt>
    <dgm:pt modelId="{17012AFC-D3C1-4556-BCA0-69E7EF7D426B}">
      <dgm:prSet phldrT="[Text]" custT="1"/>
      <dgm:spPr>
        <a:xfrm>
          <a:off x="8800672" y="968812"/>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600" dirty="0" smtClean="0">
              <a:solidFill>
                <a:sysClr val="windowText" lastClr="000000"/>
              </a:solidFill>
              <a:latin typeface="Lato"/>
              <a:ea typeface="+mn-ea"/>
              <a:cs typeface="+mn-cs"/>
            </a:rPr>
            <a:t>Intervention:</a:t>
          </a:r>
        </a:p>
        <a:p>
          <a:pPr>
            <a:spcAft>
              <a:spcPts val="0"/>
            </a:spcAft>
          </a:pPr>
          <a:r>
            <a:rPr lang="en-ZA" sz="1600" dirty="0" smtClean="0">
              <a:solidFill>
                <a:sysClr val="windowText" lastClr="000000"/>
              </a:solidFill>
              <a:latin typeface="Lato"/>
              <a:ea typeface="+mn-ea"/>
              <a:cs typeface="+mn-cs"/>
            </a:rPr>
            <a:t>Improve compliance</a:t>
          </a:r>
          <a:endParaRPr lang="en-GB" sz="1600" dirty="0">
            <a:solidFill>
              <a:sysClr val="windowText" lastClr="000000"/>
            </a:solidFill>
            <a:latin typeface="Lato"/>
            <a:ea typeface="+mn-ea"/>
            <a:cs typeface="+mn-cs"/>
          </a:endParaRPr>
        </a:p>
      </dgm:t>
    </dgm:pt>
    <dgm:pt modelId="{2891E821-653F-4013-91DF-F4C272A737E3}" type="sibTrans" cxnId="{66D1CB44-4610-42F1-91AA-35A3C15028CB}">
      <dgm:prSet/>
      <dgm:spPr/>
      <dgm:t>
        <a:bodyPr/>
        <a:lstStyle/>
        <a:p>
          <a:endParaRPr lang="en-GB"/>
        </a:p>
      </dgm:t>
    </dgm:pt>
    <dgm:pt modelId="{D3AB7F58-C8BD-4F52-BA48-1335ECA51BF3}" type="parTrans" cxnId="{66D1CB44-4610-42F1-91AA-35A3C15028CB}">
      <dgm:prSet/>
      <dgm:spPr>
        <a:xfrm>
          <a:off x="5791576" y="837857"/>
          <a:ext cx="4383927" cy="130955"/>
        </a:xfrm>
        <a:noFill/>
        <a:ln w="12700" cap="flat" cmpd="sng" algn="ctr">
          <a:noFill/>
          <a:prstDash val="solid"/>
          <a:miter lim="800000"/>
        </a:ln>
        <a:effectLst/>
      </dgm:spPr>
      <dgm:t>
        <a:bodyPr/>
        <a:lstStyle/>
        <a:p>
          <a:endParaRPr lang="en-GB"/>
        </a:p>
      </dgm:t>
    </dgm:pt>
    <dgm:pt modelId="{4F00BF85-AC72-481D-BE7B-D4C9F900999E}">
      <dgm:prSet phldrT="[Text]" custT="1"/>
      <dgm:spPr>
        <a:xfrm>
          <a:off x="8909823" y="1561087"/>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Review and automate compliance functions</a:t>
          </a:r>
          <a:endParaRPr lang="en-GB" sz="1600" dirty="0">
            <a:solidFill>
              <a:sysClr val="windowText" lastClr="000000"/>
            </a:solidFill>
            <a:latin typeface="Lato"/>
            <a:ea typeface="+mn-ea"/>
            <a:cs typeface="+mn-cs"/>
          </a:endParaRPr>
        </a:p>
      </dgm:t>
    </dgm:pt>
    <dgm:pt modelId="{5E41AA33-18C8-4417-B53F-484A14595051}" type="parTrans" cxnId="{694ED9D8-997C-40CB-B2B9-9CA76F6EEBD1}">
      <dgm:prSet/>
      <dgm:spPr>
        <a:xfrm>
          <a:off x="8909823" y="1516758"/>
          <a:ext cx="165814" cy="421235"/>
        </a:xfrm>
        <a:noFill/>
        <a:ln w="12700" cap="flat" cmpd="sng" algn="ctr">
          <a:noFill/>
          <a:prstDash val="solid"/>
          <a:miter lim="800000"/>
        </a:ln>
        <a:effectLst/>
      </dgm:spPr>
      <dgm:t>
        <a:bodyPr/>
        <a:lstStyle/>
        <a:p>
          <a:endParaRPr lang="en-GB"/>
        </a:p>
      </dgm:t>
    </dgm:pt>
    <dgm:pt modelId="{282FF86C-1827-4838-A6BF-3FFDB505CF60}" type="sibTrans" cxnId="{694ED9D8-997C-40CB-B2B9-9CA76F6EEBD1}">
      <dgm:prSet/>
      <dgm:spPr/>
      <dgm:t>
        <a:bodyPr/>
        <a:lstStyle/>
        <a:p>
          <a:endParaRPr lang="en-GB"/>
        </a:p>
      </dgm:t>
    </dgm:pt>
    <dgm:pt modelId="{8B3B7F3F-9569-4813-B483-35B81A80F496}">
      <dgm:prSet phldrT="[Text]" custT="1"/>
      <dgm:spPr>
        <a:xfrm>
          <a:off x="8911524" y="2401935"/>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view the current supply chain management operating model and awarding of contracts</a:t>
          </a:r>
          <a:endParaRPr lang="en-GB" sz="1200" dirty="0">
            <a:solidFill>
              <a:sysClr val="windowText" lastClr="000000"/>
            </a:solidFill>
            <a:latin typeface="Lato"/>
            <a:ea typeface="+mn-ea"/>
            <a:cs typeface="+mn-cs"/>
          </a:endParaRPr>
        </a:p>
      </dgm:t>
    </dgm:pt>
    <dgm:pt modelId="{2E1B0A68-5385-427D-BCDA-B3B9911E240A}" type="parTrans" cxnId="{25D2806F-B49E-47EC-9BA5-D6D37CB1926D}">
      <dgm:prSet/>
      <dgm:spPr>
        <a:xfrm>
          <a:off x="8911524" y="1516758"/>
          <a:ext cx="164113" cy="1262083"/>
        </a:xfrm>
        <a:noFill/>
        <a:ln w="12700" cap="flat" cmpd="sng" algn="ctr">
          <a:noFill/>
          <a:prstDash val="solid"/>
          <a:miter lim="800000"/>
        </a:ln>
        <a:effectLst/>
      </dgm:spPr>
      <dgm:t>
        <a:bodyPr/>
        <a:lstStyle/>
        <a:p>
          <a:endParaRPr lang="en-GB"/>
        </a:p>
      </dgm:t>
    </dgm:pt>
    <dgm:pt modelId="{E0589A92-A73B-4545-A5CA-F7B6316B1541}" type="sibTrans" cxnId="{25D2806F-B49E-47EC-9BA5-D6D37CB1926D}">
      <dgm:prSet/>
      <dgm:spPr/>
      <dgm:t>
        <a:bodyPr/>
        <a:lstStyle/>
        <a:p>
          <a:endParaRPr lang="en-GB"/>
        </a:p>
      </dgm:t>
    </dgm:pt>
    <dgm:pt modelId="{7040D635-CE3C-4D39-B00B-23C0DAD01902}">
      <dgm:prSet phldrT="[Text]" custT="1"/>
      <dgm:spPr>
        <a:xfrm>
          <a:off x="8913674" y="3258740"/>
          <a:ext cx="2537984" cy="9865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150" dirty="0" smtClean="0">
              <a:solidFill>
                <a:sysClr val="windowText" lastClr="000000"/>
              </a:solidFill>
              <a:latin typeface="Lato"/>
              <a:ea typeface="+mn-ea"/>
              <a:cs typeface="+mn-cs"/>
            </a:rPr>
            <a:t>Review the line of sight between HO, Regions and Management Areas by clearly defining roles and responsibilities</a:t>
          </a:r>
          <a:endParaRPr lang="en-GB" sz="1150" dirty="0">
            <a:solidFill>
              <a:sysClr val="windowText" lastClr="000000"/>
            </a:solidFill>
            <a:latin typeface="Lato"/>
            <a:ea typeface="+mn-ea"/>
            <a:cs typeface="+mn-cs"/>
          </a:endParaRPr>
        </a:p>
      </dgm:t>
    </dgm:pt>
    <dgm:pt modelId="{36E96AA5-58BD-4463-8AC7-C7605675329D}" type="parTrans" cxnId="{50B9BF52-DC7F-4486-A63D-688D43797D59}">
      <dgm:prSet/>
      <dgm:spPr>
        <a:xfrm>
          <a:off x="8913674" y="1516758"/>
          <a:ext cx="161963" cy="2235261"/>
        </a:xfrm>
        <a:noFill/>
        <a:ln w="12700" cap="flat" cmpd="sng" algn="ctr">
          <a:noFill/>
          <a:prstDash val="solid"/>
          <a:miter lim="800000"/>
        </a:ln>
        <a:effectLst/>
      </dgm:spPr>
      <dgm:t>
        <a:bodyPr/>
        <a:lstStyle/>
        <a:p>
          <a:endParaRPr lang="en-GB"/>
        </a:p>
      </dgm:t>
    </dgm:pt>
    <dgm:pt modelId="{4DB320F3-DA54-426D-95BE-7952EFF35D61}" type="sibTrans" cxnId="{50B9BF52-DC7F-4486-A63D-688D43797D59}">
      <dgm:prSet/>
      <dgm:spPr/>
      <dgm:t>
        <a:bodyPr/>
        <a:lstStyle/>
        <a:p>
          <a:endParaRPr lang="en-GB"/>
        </a:p>
      </dgm:t>
    </dgm:pt>
    <dgm:pt modelId="{E9A975ED-C728-4E64-B90E-4B505F6C90B9}">
      <dgm:prSet phldrT="[Text]" custT="1"/>
      <dgm:spPr>
        <a:xfrm>
          <a:off x="8919356" y="4331524"/>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organize Assurance Services to maximize assurance value, optimize operational efficiency</a:t>
          </a:r>
          <a:endParaRPr lang="en-GB" sz="1200" dirty="0">
            <a:solidFill>
              <a:sysClr val="windowText" lastClr="000000"/>
            </a:solidFill>
            <a:latin typeface="Lato"/>
            <a:ea typeface="+mn-ea"/>
            <a:cs typeface="+mn-cs"/>
          </a:endParaRPr>
        </a:p>
      </dgm:t>
    </dgm:pt>
    <dgm:pt modelId="{97E78FE5-005F-480B-ADDD-02C500177BBA}" type="parTrans" cxnId="{2CA59D98-A57E-40DB-862D-332DD9FE11FB}">
      <dgm:prSet/>
      <dgm:spPr>
        <a:xfrm>
          <a:off x="8919356" y="1516758"/>
          <a:ext cx="156281" cy="3191672"/>
        </a:xfrm>
        <a:noFill/>
        <a:ln w="12700" cap="flat" cmpd="sng" algn="ctr">
          <a:noFill/>
          <a:prstDash val="solid"/>
          <a:miter lim="800000"/>
        </a:ln>
        <a:effectLst/>
      </dgm:spPr>
      <dgm:t>
        <a:bodyPr/>
        <a:lstStyle/>
        <a:p>
          <a:endParaRPr lang="en-GB"/>
        </a:p>
      </dgm:t>
    </dgm:pt>
    <dgm:pt modelId="{BD353001-6067-4889-B0B0-5C7A4C228A3C}" type="sibTrans" cxnId="{2CA59D98-A57E-40DB-862D-332DD9FE11FB}">
      <dgm:prSet/>
      <dgm:spPr/>
      <dgm:t>
        <a:bodyPr/>
        <a:lstStyle/>
        <a:p>
          <a:endParaRPr lang="en-GB"/>
        </a:p>
      </dgm:t>
    </dgm:pt>
    <dgm:pt modelId="{4A2B5A49-02C5-4CAF-B182-FD73BC39F0B6}">
      <dgm:prSet phldrT="[Text]" custT="1"/>
      <dgm:spPr>
        <a:xfrm>
          <a:off x="5895680" y="968812"/>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100" dirty="0" smtClean="0">
              <a:solidFill>
                <a:sysClr val="windowText" lastClr="000000"/>
              </a:solidFill>
              <a:latin typeface="Lato"/>
              <a:ea typeface="+mn-ea"/>
              <a:cs typeface="+mn-cs"/>
            </a:rPr>
            <a:t>Intervention:</a:t>
          </a:r>
        </a:p>
        <a:p>
          <a:pPr>
            <a:spcAft>
              <a:spcPts val="0"/>
            </a:spcAft>
          </a:pPr>
          <a:r>
            <a:rPr lang="en-ZA" sz="1100" dirty="0" smtClean="0">
              <a:solidFill>
                <a:sysClr val="windowText" lastClr="000000"/>
              </a:solidFill>
              <a:latin typeface="Lato"/>
              <a:ea typeface="+mn-ea"/>
              <a:cs typeface="+mn-cs"/>
            </a:rPr>
            <a:t>Stringent budget management and enhancing self sufficiency</a:t>
          </a:r>
          <a:endParaRPr lang="en-GB" sz="1100" dirty="0">
            <a:solidFill>
              <a:sysClr val="windowText" lastClr="000000"/>
            </a:solidFill>
            <a:latin typeface="Lato"/>
            <a:ea typeface="+mn-ea"/>
            <a:cs typeface="+mn-cs"/>
          </a:endParaRPr>
        </a:p>
      </dgm:t>
    </dgm:pt>
    <dgm:pt modelId="{6FB800BF-C0D2-4431-90AD-DB6C6F916073}" type="parTrans" cxnId="{C7DD373B-A265-4E7E-A96E-3F1BC5B5FC3F}">
      <dgm:prSet/>
      <dgm:spPr>
        <a:xfrm>
          <a:off x="5791576" y="837857"/>
          <a:ext cx="1478935" cy="130955"/>
        </a:xfrm>
        <a:noFill/>
        <a:ln w="12700" cap="flat" cmpd="sng" algn="ctr">
          <a:noFill/>
          <a:prstDash val="solid"/>
          <a:miter lim="800000"/>
        </a:ln>
        <a:effectLst/>
      </dgm:spPr>
      <dgm:t>
        <a:bodyPr/>
        <a:lstStyle/>
        <a:p>
          <a:endParaRPr lang="en-GB"/>
        </a:p>
      </dgm:t>
    </dgm:pt>
    <dgm:pt modelId="{F330B70A-5047-4F52-80F0-426794C12634}" type="sibTrans" cxnId="{C7DD373B-A265-4E7E-A96E-3F1BC5B5FC3F}">
      <dgm:prSet/>
      <dgm:spPr/>
      <dgm:t>
        <a:bodyPr/>
        <a:lstStyle/>
        <a:p>
          <a:endParaRPr lang="en-GB"/>
        </a:p>
      </dgm:t>
    </dgm:pt>
    <dgm:pt modelId="{2D341EAF-8E02-4FFB-8BC7-8E749BCA3386}">
      <dgm:prSet phldrT="[Text]" custT="1"/>
      <dgm:spPr>
        <a:xfrm>
          <a:off x="5928374" y="1633808"/>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Timely budget reprioritisation and budget controls.</a:t>
          </a:r>
          <a:endParaRPr lang="en-GB" sz="1200" dirty="0" smtClean="0">
            <a:solidFill>
              <a:sysClr val="windowText" lastClr="000000"/>
            </a:solidFill>
            <a:latin typeface="Lato"/>
            <a:ea typeface="+mn-ea"/>
            <a:cs typeface="+mn-cs"/>
          </a:endParaRPr>
        </a:p>
      </dgm:t>
    </dgm:pt>
    <dgm:pt modelId="{0501E4C1-E7FE-472A-A140-201BB0837341}" type="parTrans" cxnId="{FFE56686-CF77-4990-8FC8-B17B0A6C1C82}">
      <dgm:prSet/>
      <dgm:spPr>
        <a:xfrm>
          <a:off x="5928374" y="1516758"/>
          <a:ext cx="242271" cy="399729"/>
        </a:xfrm>
        <a:noFill/>
        <a:ln w="12700" cap="flat" cmpd="sng" algn="ctr">
          <a:noFill/>
          <a:prstDash val="solid"/>
          <a:miter lim="800000"/>
        </a:ln>
        <a:effectLst/>
      </dgm:spPr>
      <dgm:t>
        <a:bodyPr/>
        <a:lstStyle/>
        <a:p>
          <a:endParaRPr lang="en-GB"/>
        </a:p>
      </dgm:t>
    </dgm:pt>
    <dgm:pt modelId="{A8B58A40-33F2-49FA-A4B6-8B1E6A3D8248}" type="sibTrans" cxnId="{FFE56686-CF77-4990-8FC8-B17B0A6C1C82}">
      <dgm:prSet/>
      <dgm:spPr/>
      <dgm:t>
        <a:bodyPr/>
        <a:lstStyle/>
        <a:p>
          <a:endParaRPr lang="en-GB"/>
        </a:p>
      </dgm:t>
    </dgm:pt>
    <dgm:pt modelId="{AEF99AFC-BCE6-483A-9DBF-D4311D315409}">
      <dgm:prSet custT="1"/>
      <dgm:spPr>
        <a:xfrm>
          <a:off x="5912417" y="2387703"/>
          <a:ext cx="2653928"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inuous cost saving initiatives by way of  bid negotiations and strategic procurement initiatives</a:t>
          </a:r>
          <a:endParaRPr lang="en-GB" sz="1200" dirty="0">
            <a:solidFill>
              <a:sysClr val="windowText" lastClr="000000"/>
            </a:solidFill>
            <a:latin typeface="Lato"/>
            <a:ea typeface="+mn-ea"/>
            <a:cs typeface="+mn-cs"/>
          </a:endParaRPr>
        </a:p>
      </dgm:t>
    </dgm:pt>
    <dgm:pt modelId="{944BA3E3-A7DB-42E6-BE3A-27FE8324A05A}" type="sibTrans" cxnId="{9820CA1E-1691-47FA-A880-ED1D5CB29D1B}">
      <dgm:prSet/>
      <dgm:spPr/>
      <dgm:t>
        <a:bodyPr/>
        <a:lstStyle/>
        <a:p>
          <a:endParaRPr lang="en-GB"/>
        </a:p>
      </dgm:t>
    </dgm:pt>
    <dgm:pt modelId="{23C38686-FC84-49F1-B747-F325F35C7D06}" type="parTrans" cxnId="{9820CA1E-1691-47FA-A880-ED1D5CB29D1B}">
      <dgm:prSet/>
      <dgm:spPr>
        <a:xfrm>
          <a:off x="5912417" y="1516758"/>
          <a:ext cx="258228" cy="1247851"/>
        </a:xfrm>
        <a:noFill/>
        <a:ln w="12700" cap="flat" cmpd="sng" algn="ctr">
          <a:noFill/>
          <a:prstDash val="solid"/>
          <a:miter lim="800000"/>
        </a:ln>
        <a:effectLst/>
      </dgm:spPr>
      <dgm:t>
        <a:bodyPr/>
        <a:lstStyle/>
        <a:p>
          <a:endParaRPr lang="en-GB"/>
        </a:p>
      </dgm:t>
    </dgm:pt>
    <dgm:pt modelId="{07A97D4C-A6EA-472B-B9F4-9A14FB6975E8}">
      <dgm:prSet custT="1"/>
      <dgm:spPr>
        <a:xfrm>
          <a:off x="5971849" y="3379332"/>
          <a:ext cx="2653928" cy="1262796"/>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ribute towards growing small businesses and cooperatives and designated groups through 30% set aside to support SMME &amp; Cooperatives (PPPFA)</a:t>
          </a:r>
          <a:endParaRPr lang="en-GB" sz="1200" dirty="0" smtClean="0">
            <a:solidFill>
              <a:sysClr val="windowText" lastClr="000000"/>
            </a:solidFill>
            <a:latin typeface="Lato"/>
            <a:ea typeface="+mn-ea"/>
            <a:cs typeface="+mn-cs"/>
          </a:endParaRPr>
        </a:p>
      </dgm:t>
    </dgm:pt>
    <dgm:pt modelId="{50B3E178-BFC2-4416-AC2A-F7733BD7FD55}" type="parTrans" cxnId="{15B14D79-9D12-4039-9189-B36948E4CAA5}">
      <dgm:prSet/>
      <dgm:spPr>
        <a:xfrm>
          <a:off x="5971849" y="1516758"/>
          <a:ext cx="198796" cy="2493971"/>
        </a:xfrm>
        <a:noFill/>
        <a:ln w="12700" cap="flat" cmpd="sng" algn="ctr">
          <a:noFill/>
          <a:prstDash val="solid"/>
          <a:miter lim="800000"/>
        </a:ln>
        <a:effectLst/>
      </dgm:spPr>
      <dgm:t>
        <a:bodyPr/>
        <a:lstStyle/>
        <a:p>
          <a:endParaRPr lang="en-GB"/>
        </a:p>
      </dgm:t>
    </dgm:pt>
    <dgm:pt modelId="{696D6805-C316-41B5-882F-4C7EE821847B}" type="sibTrans" cxnId="{15B14D79-9D12-4039-9189-B36948E4CAA5}">
      <dgm:prSet/>
      <dgm:spPr/>
      <dgm:t>
        <a:bodyPr/>
        <a:lstStyle/>
        <a:p>
          <a:endParaRPr lang="en-GB"/>
        </a:p>
      </dgm:t>
    </dgm:pt>
    <dgm:pt modelId="{32925A20-E0E2-491B-BCB4-1CACA4A7DB4F}">
      <dgm:prSet custT="1"/>
      <dgm:spPr>
        <a:xfrm>
          <a:off x="5987806" y="4856818"/>
          <a:ext cx="2653928"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Expansion of opportunities to increase self sufficiency</a:t>
          </a:r>
          <a:endParaRPr lang="en-GB" sz="1400" dirty="0">
            <a:solidFill>
              <a:sysClr val="windowText" lastClr="000000"/>
            </a:solidFill>
            <a:latin typeface="Lato"/>
            <a:ea typeface="+mn-ea"/>
            <a:cs typeface="+mn-cs"/>
          </a:endParaRPr>
        </a:p>
      </dgm:t>
    </dgm:pt>
    <dgm:pt modelId="{DDFBE557-D867-483E-91FE-2D29EEFD04B9}" type="sibTrans" cxnId="{41DC3BDF-1547-4112-BA11-56902743FF8D}">
      <dgm:prSet/>
      <dgm:spPr/>
      <dgm:t>
        <a:bodyPr/>
        <a:lstStyle/>
        <a:p>
          <a:endParaRPr lang="en-GB"/>
        </a:p>
      </dgm:t>
    </dgm:pt>
    <dgm:pt modelId="{BB821B91-6134-47D8-8488-D39B8F6FB9F5}" type="parTrans" cxnId="{41DC3BDF-1547-4112-BA11-56902743FF8D}">
      <dgm:prSet/>
      <dgm:spPr>
        <a:xfrm>
          <a:off x="5987806" y="1516758"/>
          <a:ext cx="182840" cy="3716966"/>
        </a:xfrm>
        <a:noFill/>
        <a:ln w="12700" cap="flat" cmpd="sng" algn="ctr">
          <a:noFill/>
          <a:prstDash val="solid"/>
          <a:miter lim="800000"/>
        </a:ln>
        <a:effectLst/>
      </dgm:spPr>
      <dgm:t>
        <a:bodyPr/>
        <a:lstStyle/>
        <a:p>
          <a:endParaRPr lang="en-GB"/>
        </a:p>
      </dgm:t>
    </dgm:pt>
    <dgm:pt modelId="{772FF846-B977-4229-8998-FD334892F6D6}">
      <dgm:prSet phldrT="[Text]" custT="1"/>
      <dgm:spPr>
        <a:xfrm>
          <a:off x="3032984" y="5600816"/>
          <a:ext cx="2690278" cy="41235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Approve the appropriate shift system after sufficient staffing has been provided</a:t>
          </a:r>
          <a:endParaRPr lang="en-GB" sz="1050" dirty="0" smtClean="0">
            <a:solidFill>
              <a:sysClr val="windowText" lastClr="000000"/>
            </a:solidFill>
            <a:latin typeface="Lato"/>
            <a:ea typeface="+mn-ea"/>
            <a:cs typeface="+mn-cs"/>
          </a:endParaRPr>
        </a:p>
      </dgm:t>
    </dgm:pt>
    <dgm:pt modelId="{64F965F4-0063-4154-85F6-3E001459EE1E}" type="parTrans" cxnId="{08BF7DC3-15BE-404E-9EFB-7C50D9C07D2F}">
      <dgm:prSet/>
      <dgm:spPr>
        <a:xfrm>
          <a:off x="3032984" y="1508181"/>
          <a:ext cx="189379" cy="4298811"/>
        </a:xfrm>
        <a:noFill/>
        <a:ln w="12700" cap="flat" cmpd="sng" algn="ctr">
          <a:noFill/>
          <a:prstDash val="solid"/>
          <a:miter lim="800000"/>
        </a:ln>
        <a:effectLst/>
      </dgm:spPr>
      <dgm:t>
        <a:bodyPr/>
        <a:lstStyle/>
        <a:p>
          <a:endParaRPr lang="en-GB"/>
        </a:p>
      </dgm:t>
    </dgm:pt>
    <dgm:pt modelId="{CAC25007-4073-4055-B964-CEFD35EB0825}" type="sibTrans" cxnId="{08BF7DC3-15BE-404E-9EFB-7C50D9C07D2F}">
      <dgm:prSet/>
      <dgm:spPr/>
      <dgm:t>
        <a:bodyPr/>
        <a:lstStyle/>
        <a:p>
          <a:endParaRPr lang="en-GB"/>
        </a:p>
      </dgm:t>
    </dgm:pt>
    <dgm:pt modelId="{DE6CB324-04C8-4039-A4A1-2D784450FD41}">
      <dgm:prSet custT="1"/>
      <dgm:spPr>
        <a:xfrm>
          <a:off x="3049376" y="6108111"/>
          <a:ext cx="2690278" cy="50897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900" dirty="0" smtClean="0">
              <a:solidFill>
                <a:sysClr val="windowText" lastClr="000000"/>
              </a:solidFill>
              <a:latin typeface="Lato"/>
              <a:ea typeface="+mn-ea"/>
              <a:cs typeface="+mn-cs"/>
            </a:rPr>
            <a:t>Implement integrated employee health and wellness programmes and training  aligned to COVID 19 SOPs and protocols</a:t>
          </a:r>
          <a:endParaRPr lang="en-GB" sz="900" dirty="0" smtClean="0">
            <a:solidFill>
              <a:sysClr val="windowText" lastClr="000000"/>
            </a:solidFill>
            <a:latin typeface="Lato"/>
            <a:ea typeface="+mn-ea"/>
            <a:cs typeface="+mn-cs"/>
          </a:endParaRPr>
        </a:p>
      </dgm:t>
    </dgm:pt>
    <dgm:pt modelId="{128CD2A8-559B-42A1-B1A9-0396AC1A0AFE}" type="parTrans" cxnId="{3818A852-7E02-4176-9B23-7070054FD95C}">
      <dgm:prSet/>
      <dgm:spPr>
        <a:xfrm>
          <a:off x="3049376" y="1508181"/>
          <a:ext cx="172986" cy="4854416"/>
        </a:xfrm>
        <a:noFill/>
        <a:ln w="12700" cap="flat" cmpd="sng" algn="ctr">
          <a:noFill/>
          <a:prstDash val="solid"/>
          <a:miter lim="800000"/>
        </a:ln>
        <a:effectLst/>
      </dgm:spPr>
      <dgm:t>
        <a:bodyPr/>
        <a:lstStyle/>
        <a:p>
          <a:endParaRPr lang="en-GB"/>
        </a:p>
      </dgm:t>
    </dgm:pt>
    <dgm:pt modelId="{6F693912-8461-40A5-A0DD-40F146CA405B}" type="sibTrans" cxnId="{3818A852-7E02-4176-9B23-7070054FD95C}">
      <dgm:prSet/>
      <dgm:spPr/>
      <dgm:t>
        <a:bodyPr/>
        <a:lstStyle/>
        <a:p>
          <a:endParaRPr lang="en-GB"/>
        </a:p>
      </dgm:t>
    </dgm:pt>
    <dgm:pt modelId="{9002187A-E2EC-4717-831E-102A4221D70E}">
      <dgm:prSet phldrT="[Text]"/>
      <dgm:spPr>
        <a:xfrm>
          <a:off x="8909911" y="5158865"/>
          <a:ext cx="2537984"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Monitoring of compliance to legislation and prescripts</a:t>
          </a:r>
          <a:endParaRPr lang="en-GB" dirty="0">
            <a:solidFill>
              <a:sysClr val="windowText" lastClr="000000"/>
            </a:solidFill>
            <a:latin typeface="Lato"/>
            <a:ea typeface="+mn-ea"/>
            <a:cs typeface="+mn-cs"/>
          </a:endParaRPr>
        </a:p>
      </dgm:t>
    </dgm:pt>
    <dgm:pt modelId="{4C075103-1FAA-4D49-8304-A018805FFDE8}" type="parTrans" cxnId="{3BA6B1A4-DD46-4EC4-89EB-696660C6E425}">
      <dgm:prSet/>
      <dgm:spPr>
        <a:xfrm>
          <a:off x="8909911" y="1516758"/>
          <a:ext cx="165726" cy="3924786"/>
        </a:xfrm>
        <a:noFill/>
        <a:ln w="12700" cap="flat" cmpd="sng" algn="ctr">
          <a:noFill/>
          <a:prstDash val="solid"/>
          <a:miter lim="800000"/>
        </a:ln>
        <a:effectLst/>
      </dgm:spPr>
      <dgm:t>
        <a:bodyPr/>
        <a:lstStyle/>
        <a:p>
          <a:endParaRPr lang="en-GB"/>
        </a:p>
      </dgm:t>
    </dgm:pt>
    <dgm:pt modelId="{1E658E4A-AB82-4D65-AA86-17D4B91A0032}" type="sibTrans" cxnId="{3BA6B1A4-DD46-4EC4-89EB-696660C6E425}">
      <dgm:prSet/>
      <dgm:spPr/>
      <dgm:t>
        <a:bodyPr/>
        <a:lstStyle/>
        <a:p>
          <a:endParaRPr lang="en-GB"/>
        </a:p>
      </dgm:t>
    </dgm:pt>
    <dgm:pt modelId="{795D8047-9602-4F28-A46F-427EBC32A9A5}">
      <dgm:prSet/>
      <dgm:spPr>
        <a:xfrm>
          <a:off x="8898514" y="5761983"/>
          <a:ext cx="2537984"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Consequence Management</a:t>
          </a:r>
        </a:p>
      </dgm:t>
    </dgm:pt>
    <dgm:pt modelId="{BFBB2B3E-EE3E-4352-9F16-33C8D905B52C}" type="parTrans" cxnId="{1FA7E189-67F7-4787-9D1A-C5E4B2ED2822}">
      <dgm:prSet/>
      <dgm:spPr>
        <a:xfrm>
          <a:off x="8898514" y="1516758"/>
          <a:ext cx="177124" cy="4415340"/>
        </a:xfrm>
        <a:noFill/>
        <a:ln w="12700" cap="flat" cmpd="sng" algn="ctr">
          <a:noFill/>
          <a:prstDash val="solid"/>
          <a:miter lim="800000"/>
        </a:ln>
        <a:effectLst/>
      </dgm:spPr>
      <dgm:t>
        <a:bodyPr/>
        <a:lstStyle/>
        <a:p>
          <a:endParaRPr lang="en-GB"/>
        </a:p>
      </dgm:t>
    </dgm:pt>
    <dgm:pt modelId="{B3E21C83-25C8-42D8-8632-98FE330468CD}" type="sibTrans" cxnId="{1FA7E189-67F7-4787-9D1A-C5E4B2ED2822}">
      <dgm:prSet/>
      <dgm:spPr/>
      <dgm:t>
        <a:bodyPr/>
        <a:lstStyle/>
        <a:p>
          <a:endParaRPr lang="en-GB"/>
        </a:p>
      </dgm:t>
    </dgm:pt>
    <dgm:pt modelId="{7CE8175F-BCF0-4B92-A842-728EC78F57D8}">
      <dgm:prSet/>
      <dgm:spPr>
        <a:xfrm>
          <a:off x="8882393" y="6170843"/>
          <a:ext cx="2537984"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Fraud awareness</a:t>
          </a:r>
        </a:p>
      </dgm:t>
    </dgm:pt>
    <dgm:pt modelId="{3E8566DB-3FD9-4E15-964E-6C880A5BB489}" type="parTrans" cxnId="{4B3AF09B-29B5-432E-8673-8C6752AB21C7}">
      <dgm:prSet/>
      <dgm:spPr>
        <a:xfrm>
          <a:off x="8882393" y="1516758"/>
          <a:ext cx="193244" cy="4824200"/>
        </a:xfrm>
        <a:noFill/>
        <a:ln w="12700" cap="flat" cmpd="sng" algn="ctr">
          <a:noFill/>
          <a:prstDash val="solid"/>
          <a:miter lim="800000"/>
        </a:ln>
        <a:effectLst/>
      </dgm:spPr>
      <dgm:t>
        <a:bodyPr/>
        <a:lstStyle/>
        <a:p>
          <a:endParaRPr lang="en-GB"/>
        </a:p>
      </dgm:t>
    </dgm:pt>
    <dgm:pt modelId="{266FE5F5-DC7C-4293-9928-2DDF57061B31}" type="sibTrans" cxnId="{4B3AF09B-29B5-432E-8673-8C6752AB21C7}">
      <dgm:prSet/>
      <dgm:spPr/>
      <dgm:t>
        <a:bodyPr/>
        <a:lstStyle/>
        <a:p>
          <a:endParaRPr lang="en-GB"/>
        </a:p>
      </dgm:t>
    </dgm:pt>
    <dgm:pt modelId="{9EBBB895-7600-4C5C-AD2A-85DBB7813F37}">
      <dgm:prSet custT="1"/>
      <dgm:spPr>
        <a:xfrm>
          <a:off x="3064190" y="6723406"/>
          <a:ext cx="2690278"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rofessionalise the Department </a:t>
          </a:r>
          <a:endParaRPr lang="en-GB" sz="1050" dirty="0" smtClean="0">
            <a:solidFill>
              <a:sysClr val="windowText" lastClr="000000"/>
            </a:solidFill>
            <a:latin typeface="Lato"/>
            <a:ea typeface="+mn-ea"/>
            <a:cs typeface="+mn-cs"/>
          </a:endParaRPr>
        </a:p>
      </dgm:t>
    </dgm:pt>
    <dgm:pt modelId="{862E5178-4EA9-49DF-9E29-89AA5E3C5029}" type="parTrans" cxnId="{BBA86DD5-1742-4C9F-84A2-5D74CDCEEAB2}">
      <dgm:prSet/>
      <dgm:spPr>
        <a:xfrm>
          <a:off x="3064190" y="1508181"/>
          <a:ext cx="158173" cy="5385340"/>
        </a:xfrm>
        <a:noFill/>
        <a:ln w="12700" cap="flat" cmpd="sng" algn="ctr">
          <a:noFill/>
          <a:prstDash val="solid"/>
          <a:miter lim="800000"/>
        </a:ln>
        <a:effectLst/>
      </dgm:spPr>
      <dgm:t>
        <a:bodyPr/>
        <a:lstStyle/>
        <a:p>
          <a:endParaRPr lang="en-GB"/>
        </a:p>
      </dgm:t>
    </dgm:pt>
    <dgm:pt modelId="{BF217296-EF35-4EE0-873D-C5A079B5430C}" type="sibTrans" cxnId="{BBA86DD5-1742-4C9F-84A2-5D74CDCEEAB2}">
      <dgm:prSet/>
      <dgm:spPr/>
      <dgm:t>
        <a:bodyPr/>
        <a:lstStyle/>
        <a:p>
          <a:endParaRPr lang="en-GB"/>
        </a:p>
      </dgm:t>
    </dgm:pt>
    <dgm:pt modelId="{C80C8456-3BBA-45FD-AD23-3C06B4C3CF8C}" type="pres">
      <dgm:prSet presAssocID="{AEA21CE9-A7A8-4EE0-8D08-C3300B5032C0}" presName="hierChild1" presStyleCnt="0">
        <dgm:presLayoutVars>
          <dgm:orgChart val="1"/>
          <dgm:chPref val="1"/>
          <dgm:dir/>
          <dgm:animOne val="branch"/>
          <dgm:animLvl val="lvl"/>
          <dgm:resizeHandles/>
        </dgm:presLayoutVars>
      </dgm:prSet>
      <dgm:spPr/>
      <dgm:t>
        <a:bodyPr/>
        <a:lstStyle/>
        <a:p>
          <a:endParaRPr lang="en-GB"/>
        </a:p>
      </dgm:t>
    </dgm:pt>
    <dgm:pt modelId="{F88D0735-F9A5-4838-BF81-5F41B1860C85}" type="pres">
      <dgm:prSet presAssocID="{D9A67AE4-4575-43B7-A6F3-0BD58EA221F0}" presName="hierRoot1" presStyleCnt="0">
        <dgm:presLayoutVars>
          <dgm:hierBranch val="init"/>
        </dgm:presLayoutVars>
      </dgm:prSet>
      <dgm:spPr/>
    </dgm:pt>
    <dgm:pt modelId="{3AF30B77-46B7-4926-8FDC-1C8E1DF50EF1}" type="pres">
      <dgm:prSet presAssocID="{D9A67AE4-4575-43B7-A6F3-0BD58EA221F0}" presName="rootComposite1" presStyleCnt="0"/>
      <dgm:spPr/>
    </dgm:pt>
    <dgm:pt modelId="{4647B7EA-AC87-4476-9537-D181D7693287}" type="pres">
      <dgm:prSet presAssocID="{D9A67AE4-4575-43B7-A6F3-0BD58EA221F0}" presName="rootText1" presStyleLbl="node0" presStyleIdx="0" presStyleCnt="1" custScaleX="1994645" custScaleY="223689" custLinFactNeighborX="12325" custLinFactNeighborY="9666">
        <dgm:presLayoutVars>
          <dgm:chPref val="3"/>
        </dgm:presLayoutVars>
      </dgm:prSet>
      <dgm:spPr>
        <a:prstGeom prst="rect">
          <a:avLst/>
        </a:prstGeom>
      </dgm:spPr>
      <dgm:t>
        <a:bodyPr/>
        <a:lstStyle/>
        <a:p>
          <a:endParaRPr lang="en-GB"/>
        </a:p>
      </dgm:t>
    </dgm:pt>
    <dgm:pt modelId="{11C8C23B-B493-47C5-9205-B34A41C8E805}" type="pres">
      <dgm:prSet presAssocID="{D9A67AE4-4575-43B7-A6F3-0BD58EA221F0}" presName="rootConnector1" presStyleLbl="node1" presStyleIdx="0" presStyleCnt="0"/>
      <dgm:spPr/>
      <dgm:t>
        <a:bodyPr/>
        <a:lstStyle/>
        <a:p>
          <a:endParaRPr lang="en-GB"/>
        </a:p>
      </dgm:t>
    </dgm:pt>
    <dgm:pt modelId="{6ADA6EB7-E841-4017-AB6F-9758EC075640}" type="pres">
      <dgm:prSet presAssocID="{D9A67AE4-4575-43B7-A6F3-0BD58EA221F0}" presName="hierChild2" presStyleCnt="0"/>
      <dgm:spPr/>
    </dgm:pt>
    <dgm:pt modelId="{D8734DF8-E79C-44E6-9764-7B2B826E2D1C}" type="pres">
      <dgm:prSet presAssocID="{3DAC40A4-5971-441F-9133-8187AFA97BC7}" presName="Name37" presStyleLbl="parChTrans1D2" presStyleIdx="0" presStyleCnt="4"/>
      <dgm:spPr>
        <a:custGeom>
          <a:avLst/>
          <a:gdLst/>
          <a:ahLst/>
          <a:cxnLst/>
          <a:rect l="0" t="0" r="0" b="0"/>
          <a:pathLst>
            <a:path>
              <a:moveTo>
                <a:pt x="4383927" y="0"/>
              </a:moveTo>
              <a:lnTo>
                <a:pt x="4383927" y="54215"/>
              </a:lnTo>
              <a:lnTo>
                <a:pt x="0" y="54215"/>
              </a:lnTo>
              <a:lnTo>
                <a:pt x="0" y="125664"/>
              </a:lnTo>
            </a:path>
          </a:pathLst>
        </a:custGeom>
      </dgm:spPr>
      <dgm:t>
        <a:bodyPr/>
        <a:lstStyle/>
        <a:p>
          <a:endParaRPr lang="en-GB"/>
        </a:p>
      </dgm:t>
    </dgm:pt>
    <dgm:pt modelId="{3BF45422-8F93-428C-91EC-E06D9991B6FE}" type="pres">
      <dgm:prSet presAssocID="{3FA8E52E-41A8-4B79-88F3-ABDEBF17CD17}" presName="hierRoot2" presStyleCnt="0">
        <dgm:presLayoutVars>
          <dgm:hierBranch val="init"/>
        </dgm:presLayoutVars>
      </dgm:prSet>
      <dgm:spPr/>
    </dgm:pt>
    <dgm:pt modelId="{8CEB8CCE-8615-474E-83B5-07DDBEFCE369}" type="pres">
      <dgm:prSet presAssocID="{3FA8E52E-41A8-4B79-88F3-ABDEBF17CD17}" presName="rootComposite" presStyleCnt="0"/>
      <dgm:spPr/>
    </dgm:pt>
    <dgm:pt modelId="{B7CC506E-76AA-4F38-A791-F42D4C7CADF8}" type="pres">
      <dgm:prSet presAssocID="{3FA8E52E-41A8-4B79-88F3-ABDEBF17CD17}" presName="rootText" presStyleLbl="node2" presStyleIdx="0" presStyleCnt="4" custScaleX="489722" custScaleY="161051" custLinFactNeighborX="-5435" custLinFactNeighborY="-26953">
        <dgm:presLayoutVars>
          <dgm:chPref val="3"/>
        </dgm:presLayoutVars>
      </dgm:prSet>
      <dgm:spPr>
        <a:prstGeom prst="rect">
          <a:avLst/>
        </a:prstGeom>
      </dgm:spPr>
      <dgm:t>
        <a:bodyPr/>
        <a:lstStyle/>
        <a:p>
          <a:endParaRPr lang="en-GB"/>
        </a:p>
      </dgm:t>
    </dgm:pt>
    <dgm:pt modelId="{9A3B73B8-A734-4DA9-B323-C843A6C97FD7}" type="pres">
      <dgm:prSet presAssocID="{3FA8E52E-41A8-4B79-88F3-ABDEBF17CD17}" presName="rootConnector" presStyleLbl="node2" presStyleIdx="0" presStyleCnt="4"/>
      <dgm:spPr/>
      <dgm:t>
        <a:bodyPr/>
        <a:lstStyle/>
        <a:p>
          <a:endParaRPr lang="en-GB"/>
        </a:p>
      </dgm:t>
    </dgm:pt>
    <dgm:pt modelId="{EE113FB6-5CEC-4C8E-8E8F-E1126C6E7BAF}" type="pres">
      <dgm:prSet presAssocID="{3FA8E52E-41A8-4B79-88F3-ABDEBF17CD17}" presName="hierChild4" presStyleCnt="0"/>
      <dgm:spPr/>
    </dgm:pt>
    <dgm:pt modelId="{1E6F7728-0201-4A15-AC95-CC7E377B1A72}" type="pres">
      <dgm:prSet presAssocID="{EF5E585F-3673-4CC4-9E22-D48DF4FE27E6}" presName="Name37" presStyleLbl="parChTrans1D3" presStyleIdx="0" presStyleCnt="27"/>
      <dgm:spPr>
        <a:custGeom>
          <a:avLst/>
          <a:gdLst/>
          <a:ahLst/>
          <a:cxnLst/>
          <a:rect l="0" t="0" r="0" b="0"/>
          <a:pathLst>
            <a:path>
              <a:moveTo>
                <a:pt x="196878" y="0"/>
              </a:moveTo>
              <a:lnTo>
                <a:pt x="0" y="477503"/>
              </a:lnTo>
            </a:path>
          </a:pathLst>
        </a:custGeom>
      </dgm:spPr>
      <dgm:t>
        <a:bodyPr/>
        <a:lstStyle/>
        <a:p>
          <a:endParaRPr lang="en-GB"/>
        </a:p>
      </dgm:t>
    </dgm:pt>
    <dgm:pt modelId="{FF7C084A-888B-49ED-9D1D-C688AFE06D8A}" type="pres">
      <dgm:prSet presAssocID="{E506AFA8-1B82-43BC-98C8-F80DC54DD35B}" presName="hierRoot2" presStyleCnt="0">
        <dgm:presLayoutVars>
          <dgm:hierBranch val="init"/>
        </dgm:presLayoutVars>
      </dgm:prSet>
      <dgm:spPr/>
    </dgm:pt>
    <dgm:pt modelId="{5B767B2E-DABF-46EA-AA3A-68FBBCE70CEF}" type="pres">
      <dgm:prSet presAssocID="{E506AFA8-1B82-43BC-98C8-F80DC54DD35B}" presName="rootComposite" presStyleCnt="0"/>
      <dgm:spPr/>
    </dgm:pt>
    <dgm:pt modelId="{AD2E7CCF-8632-48BA-AB5F-38D672160CB7}" type="pres">
      <dgm:prSet presAssocID="{E506AFA8-1B82-43BC-98C8-F80DC54DD35B}" presName="rootText" presStyleLbl="node3" presStyleIdx="0" presStyleCnt="27" custScaleX="428507" custScaleY="208777" custLinFactNeighborX="-96172" custLinFactNeighborY="-36489">
        <dgm:presLayoutVars>
          <dgm:chPref val="3"/>
        </dgm:presLayoutVars>
      </dgm:prSet>
      <dgm:spPr>
        <a:prstGeom prst="rect">
          <a:avLst/>
        </a:prstGeom>
      </dgm:spPr>
      <dgm:t>
        <a:bodyPr/>
        <a:lstStyle/>
        <a:p>
          <a:endParaRPr lang="en-GB"/>
        </a:p>
      </dgm:t>
    </dgm:pt>
    <dgm:pt modelId="{CC4D928E-8FD4-48D7-883D-76404CA06E7E}" type="pres">
      <dgm:prSet presAssocID="{E506AFA8-1B82-43BC-98C8-F80DC54DD35B}" presName="rootConnector" presStyleLbl="node3" presStyleIdx="0" presStyleCnt="27"/>
      <dgm:spPr/>
      <dgm:t>
        <a:bodyPr/>
        <a:lstStyle/>
        <a:p>
          <a:endParaRPr lang="en-GB"/>
        </a:p>
      </dgm:t>
    </dgm:pt>
    <dgm:pt modelId="{FA32E815-7F22-426A-90B0-8E402FE47375}" type="pres">
      <dgm:prSet presAssocID="{E506AFA8-1B82-43BC-98C8-F80DC54DD35B}" presName="hierChild4" presStyleCnt="0"/>
      <dgm:spPr/>
    </dgm:pt>
    <dgm:pt modelId="{18F8BF39-FA26-4730-97B0-68D18375DDD3}" type="pres">
      <dgm:prSet presAssocID="{E506AFA8-1B82-43BC-98C8-F80DC54DD35B}" presName="hierChild5" presStyleCnt="0"/>
      <dgm:spPr/>
    </dgm:pt>
    <dgm:pt modelId="{E69AAF95-112D-4CA3-8B25-A2C1AA2BFB20}" type="pres">
      <dgm:prSet presAssocID="{9C577F41-001A-42AE-AABF-54268D15A364}" presName="Name37" presStyleLbl="parChTrans1D3" presStyleIdx="1" presStyleCnt="27"/>
      <dgm:spPr>
        <a:custGeom>
          <a:avLst/>
          <a:gdLst/>
          <a:ahLst/>
          <a:cxnLst/>
          <a:rect l="0" t="0" r="0" b="0"/>
          <a:pathLst>
            <a:path>
              <a:moveTo>
                <a:pt x="185316" y="0"/>
              </a:moveTo>
              <a:lnTo>
                <a:pt x="0" y="1217657"/>
              </a:lnTo>
            </a:path>
          </a:pathLst>
        </a:custGeom>
      </dgm:spPr>
      <dgm:t>
        <a:bodyPr/>
        <a:lstStyle/>
        <a:p>
          <a:endParaRPr lang="en-GB"/>
        </a:p>
      </dgm:t>
    </dgm:pt>
    <dgm:pt modelId="{80A3AA10-C1FA-471D-A249-6AFB3714DCB8}" type="pres">
      <dgm:prSet presAssocID="{2758B6C3-6786-4A0A-94BA-3C0B87000D62}" presName="hierRoot2" presStyleCnt="0">
        <dgm:presLayoutVars>
          <dgm:hierBranch val="init"/>
        </dgm:presLayoutVars>
      </dgm:prSet>
      <dgm:spPr/>
    </dgm:pt>
    <dgm:pt modelId="{A88FBACF-46A7-4A42-A1E4-BC43DEA31223}" type="pres">
      <dgm:prSet presAssocID="{2758B6C3-6786-4A0A-94BA-3C0B87000D62}" presName="rootComposite" presStyleCnt="0"/>
      <dgm:spPr/>
    </dgm:pt>
    <dgm:pt modelId="{3AC870FB-C26A-455D-A787-26FB8A768500}" type="pres">
      <dgm:prSet presAssocID="{2758B6C3-6786-4A0A-94BA-3C0B87000D62}" presName="rootText" presStyleLbl="node3" presStyleIdx="1" presStyleCnt="27" custScaleX="428507" custScaleY="162382" custLinFactNeighborX="-94473" custLinFactNeighborY="-46524">
        <dgm:presLayoutVars>
          <dgm:chPref val="3"/>
        </dgm:presLayoutVars>
      </dgm:prSet>
      <dgm:spPr>
        <a:prstGeom prst="rect">
          <a:avLst/>
        </a:prstGeom>
      </dgm:spPr>
      <dgm:t>
        <a:bodyPr/>
        <a:lstStyle/>
        <a:p>
          <a:endParaRPr lang="en-GB"/>
        </a:p>
      </dgm:t>
    </dgm:pt>
    <dgm:pt modelId="{E350FF0A-3899-4666-BFBB-4391AE4ED83D}" type="pres">
      <dgm:prSet presAssocID="{2758B6C3-6786-4A0A-94BA-3C0B87000D62}" presName="rootConnector" presStyleLbl="node3" presStyleIdx="1" presStyleCnt="27"/>
      <dgm:spPr/>
      <dgm:t>
        <a:bodyPr/>
        <a:lstStyle/>
        <a:p>
          <a:endParaRPr lang="en-GB"/>
        </a:p>
      </dgm:t>
    </dgm:pt>
    <dgm:pt modelId="{85CF59DE-9063-4A6A-825C-7A44436C0528}" type="pres">
      <dgm:prSet presAssocID="{2758B6C3-6786-4A0A-94BA-3C0B87000D62}" presName="hierChild4" presStyleCnt="0"/>
      <dgm:spPr/>
    </dgm:pt>
    <dgm:pt modelId="{9C2EBD5A-543C-42FB-A080-47829399EF4A}" type="pres">
      <dgm:prSet presAssocID="{2758B6C3-6786-4A0A-94BA-3C0B87000D62}" presName="hierChild5" presStyleCnt="0"/>
      <dgm:spPr/>
    </dgm:pt>
    <dgm:pt modelId="{8912F301-E950-4E0C-B146-0A5185F9A67F}" type="pres">
      <dgm:prSet presAssocID="{6FA0B268-20E6-499D-A943-270BC5C30AC9}" presName="Name37" presStyleLbl="parChTrans1D3" presStyleIdx="2" presStyleCnt="27"/>
      <dgm:spPr>
        <a:custGeom>
          <a:avLst/>
          <a:gdLst/>
          <a:ahLst/>
          <a:cxnLst/>
          <a:rect l="0" t="0" r="0" b="0"/>
          <a:pathLst>
            <a:path>
              <a:moveTo>
                <a:pt x="185316" y="0"/>
              </a:moveTo>
              <a:lnTo>
                <a:pt x="0" y="1875146"/>
              </a:lnTo>
            </a:path>
          </a:pathLst>
        </a:custGeom>
      </dgm:spPr>
      <dgm:t>
        <a:bodyPr/>
        <a:lstStyle/>
        <a:p>
          <a:endParaRPr lang="en-GB"/>
        </a:p>
      </dgm:t>
    </dgm:pt>
    <dgm:pt modelId="{834BCB6B-E703-4F1D-921C-98C1AA78C974}" type="pres">
      <dgm:prSet presAssocID="{2F5C0CB3-A347-4DB6-A843-8920EBFA59B6}" presName="hierRoot2" presStyleCnt="0">
        <dgm:presLayoutVars>
          <dgm:hierBranch val="init"/>
        </dgm:presLayoutVars>
      </dgm:prSet>
      <dgm:spPr/>
    </dgm:pt>
    <dgm:pt modelId="{AF158338-D549-4974-9E57-FC481999E22C}" type="pres">
      <dgm:prSet presAssocID="{2F5C0CB3-A347-4DB6-A843-8920EBFA59B6}" presName="rootComposite" presStyleCnt="0"/>
      <dgm:spPr/>
    </dgm:pt>
    <dgm:pt modelId="{68F9805C-8CAE-4938-9623-6375F921F333}" type="pres">
      <dgm:prSet presAssocID="{2F5C0CB3-A347-4DB6-A843-8920EBFA59B6}" presName="rootText" presStyleLbl="node3" presStyleIdx="2" presStyleCnt="27" custScaleX="428507" custScaleY="166169" custLinFactNeighborX="-94473" custLinFactNeighborY="-59552">
        <dgm:presLayoutVars>
          <dgm:chPref val="3"/>
        </dgm:presLayoutVars>
      </dgm:prSet>
      <dgm:spPr>
        <a:prstGeom prst="rect">
          <a:avLst/>
        </a:prstGeom>
      </dgm:spPr>
      <dgm:t>
        <a:bodyPr/>
        <a:lstStyle/>
        <a:p>
          <a:endParaRPr lang="en-GB"/>
        </a:p>
      </dgm:t>
    </dgm:pt>
    <dgm:pt modelId="{EED161AF-40AD-43B2-8B46-38DF36ECA8B3}" type="pres">
      <dgm:prSet presAssocID="{2F5C0CB3-A347-4DB6-A843-8920EBFA59B6}" presName="rootConnector" presStyleLbl="node3" presStyleIdx="2" presStyleCnt="27"/>
      <dgm:spPr/>
      <dgm:t>
        <a:bodyPr/>
        <a:lstStyle/>
        <a:p>
          <a:endParaRPr lang="en-GB"/>
        </a:p>
      </dgm:t>
    </dgm:pt>
    <dgm:pt modelId="{A48F0EED-10B4-43B4-8314-E035F4FF4276}" type="pres">
      <dgm:prSet presAssocID="{2F5C0CB3-A347-4DB6-A843-8920EBFA59B6}" presName="hierChild4" presStyleCnt="0"/>
      <dgm:spPr/>
    </dgm:pt>
    <dgm:pt modelId="{E10B221C-A66C-4977-B1B3-3DB40C85D802}" type="pres">
      <dgm:prSet presAssocID="{2F5C0CB3-A347-4DB6-A843-8920EBFA59B6}" presName="hierChild5" presStyleCnt="0"/>
      <dgm:spPr/>
    </dgm:pt>
    <dgm:pt modelId="{59553AB9-15C6-41A5-86D0-0A8B70218E8B}" type="pres">
      <dgm:prSet presAssocID="{B0DC9A8E-7A12-4BF0-8A96-882866292D90}" presName="Name37" presStyleLbl="parChTrans1D3" presStyleIdx="3" presStyleCnt="27"/>
      <dgm:spPr>
        <a:custGeom>
          <a:avLst/>
          <a:gdLst/>
          <a:ahLst/>
          <a:cxnLst/>
          <a:rect l="0" t="0" r="0" b="0"/>
          <a:pathLst>
            <a:path>
              <a:moveTo>
                <a:pt x="185316" y="0"/>
              </a:moveTo>
              <a:lnTo>
                <a:pt x="0" y="2574006"/>
              </a:lnTo>
            </a:path>
          </a:pathLst>
        </a:custGeom>
      </dgm:spPr>
      <dgm:t>
        <a:bodyPr/>
        <a:lstStyle/>
        <a:p>
          <a:endParaRPr lang="en-GB"/>
        </a:p>
      </dgm:t>
    </dgm:pt>
    <dgm:pt modelId="{B52134F1-1856-4C86-A778-3A7D191FACBC}" type="pres">
      <dgm:prSet presAssocID="{E59C7045-2EF3-4659-8457-FC2DC2C82928}" presName="hierRoot2" presStyleCnt="0">
        <dgm:presLayoutVars>
          <dgm:hierBranch val="init"/>
        </dgm:presLayoutVars>
      </dgm:prSet>
      <dgm:spPr/>
    </dgm:pt>
    <dgm:pt modelId="{0B4A54DC-C4AF-4F2B-9936-BD4F6AA0CF52}" type="pres">
      <dgm:prSet presAssocID="{E59C7045-2EF3-4659-8457-FC2DC2C82928}" presName="rootComposite" presStyleCnt="0"/>
      <dgm:spPr/>
    </dgm:pt>
    <dgm:pt modelId="{61B4AA93-0842-4D55-B889-C5D4706F273C}" type="pres">
      <dgm:prSet presAssocID="{E59C7045-2EF3-4659-8457-FC2DC2C82928}" presName="rootText" presStyleLbl="node3" presStyleIdx="3" presStyleCnt="27" custScaleX="428507" custScaleY="166169" custLinFactNeighborX="-94473" custLinFactNeighborY="-62314">
        <dgm:presLayoutVars>
          <dgm:chPref val="3"/>
        </dgm:presLayoutVars>
      </dgm:prSet>
      <dgm:spPr>
        <a:prstGeom prst="rect">
          <a:avLst/>
        </a:prstGeom>
      </dgm:spPr>
      <dgm:t>
        <a:bodyPr/>
        <a:lstStyle/>
        <a:p>
          <a:endParaRPr lang="en-GB"/>
        </a:p>
      </dgm:t>
    </dgm:pt>
    <dgm:pt modelId="{E846EEA4-3606-4E73-993D-7A44D043C02F}" type="pres">
      <dgm:prSet presAssocID="{E59C7045-2EF3-4659-8457-FC2DC2C82928}" presName="rootConnector" presStyleLbl="node3" presStyleIdx="3" presStyleCnt="27"/>
      <dgm:spPr/>
      <dgm:t>
        <a:bodyPr/>
        <a:lstStyle/>
        <a:p>
          <a:endParaRPr lang="en-GB"/>
        </a:p>
      </dgm:t>
    </dgm:pt>
    <dgm:pt modelId="{2FA24229-AE3F-44B6-8627-7B111FEBB73B}" type="pres">
      <dgm:prSet presAssocID="{E59C7045-2EF3-4659-8457-FC2DC2C82928}" presName="hierChild4" presStyleCnt="0"/>
      <dgm:spPr/>
    </dgm:pt>
    <dgm:pt modelId="{CC4B2863-8354-4EE9-8135-BEA83B40949F}" type="pres">
      <dgm:prSet presAssocID="{E59C7045-2EF3-4659-8457-FC2DC2C82928}" presName="hierChild5" presStyleCnt="0"/>
      <dgm:spPr/>
    </dgm:pt>
    <dgm:pt modelId="{E2C6E8CA-49E0-4ED9-8590-8C6DE8D745C9}" type="pres">
      <dgm:prSet presAssocID="{AD30EE2C-612E-4D7A-9A9D-63748E547A4E}" presName="Name37" presStyleLbl="parChTrans1D3" presStyleIdx="4" presStyleCnt="27"/>
      <dgm:spPr>
        <a:custGeom>
          <a:avLst/>
          <a:gdLst/>
          <a:ahLst/>
          <a:cxnLst/>
          <a:rect l="0" t="0" r="0" b="0"/>
          <a:pathLst>
            <a:path>
              <a:moveTo>
                <a:pt x="185316" y="0"/>
              </a:moveTo>
              <a:lnTo>
                <a:pt x="0" y="3288818"/>
              </a:lnTo>
            </a:path>
          </a:pathLst>
        </a:custGeom>
      </dgm:spPr>
      <dgm:t>
        <a:bodyPr/>
        <a:lstStyle/>
        <a:p>
          <a:endParaRPr lang="en-GB"/>
        </a:p>
      </dgm:t>
    </dgm:pt>
    <dgm:pt modelId="{0D50DA4F-9586-41F2-91B6-BC19DB900CA3}" type="pres">
      <dgm:prSet presAssocID="{7741473B-E186-4580-BC20-E482C22F84BC}" presName="hierRoot2" presStyleCnt="0">
        <dgm:presLayoutVars>
          <dgm:hierBranch val="init"/>
        </dgm:presLayoutVars>
      </dgm:prSet>
      <dgm:spPr/>
    </dgm:pt>
    <dgm:pt modelId="{9CCCE715-3EF9-48A9-BC41-62EC08586110}" type="pres">
      <dgm:prSet presAssocID="{7741473B-E186-4580-BC20-E482C22F84BC}" presName="rootComposite" presStyleCnt="0"/>
      <dgm:spPr/>
    </dgm:pt>
    <dgm:pt modelId="{3D806196-A09E-42B6-89DA-5DE151B649CC}" type="pres">
      <dgm:prSet presAssocID="{7741473B-E186-4580-BC20-E482C22F84BC}" presName="rootText" presStyleLbl="node3" presStyleIdx="4" presStyleCnt="27" custScaleX="428507" custScaleY="166169" custLinFactNeighborX="-94473" custLinFactNeighborY="-60387">
        <dgm:presLayoutVars>
          <dgm:chPref val="3"/>
        </dgm:presLayoutVars>
      </dgm:prSet>
      <dgm:spPr>
        <a:prstGeom prst="rect">
          <a:avLst/>
        </a:prstGeom>
      </dgm:spPr>
      <dgm:t>
        <a:bodyPr/>
        <a:lstStyle/>
        <a:p>
          <a:endParaRPr lang="en-GB"/>
        </a:p>
      </dgm:t>
    </dgm:pt>
    <dgm:pt modelId="{267C9922-0B84-4AEE-9817-7077676D94D7}" type="pres">
      <dgm:prSet presAssocID="{7741473B-E186-4580-BC20-E482C22F84BC}" presName="rootConnector" presStyleLbl="node3" presStyleIdx="4" presStyleCnt="27"/>
      <dgm:spPr/>
      <dgm:t>
        <a:bodyPr/>
        <a:lstStyle/>
        <a:p>
          <a:endParaRPr lang="en-GB"/>
        </a:p>
      </dgm:t>
    </dgm:pt>
    <dgm:pt modelId="{99A7B307-B6C1-45CF-A195-50D3AFA0DFD9}" type="pres">
      <dgm:prSet presAssocID="{7741473B-E186-4580-BC20-E482C22F84BC}" presName="hierChild4" presStyleCnt="0"/>
      <dgm:spPr/>
    </dgm:pt>
    <dgm:pt modelId="{89B5850F-0E35-45C4-8339-C0B5560752D2}" type="pres">
      <dgm:prSet presAssocID="{7741473B-E186-4580-BC20-E482C22F84BC}" presName="hierChild5" presStyleCnt="0"/>
      <dgm:spPr/>
    </dgm:pt>
    <dgm:pt modelId="{EB7A51C9-2A3B-4023-940F-7A577F808009}" type="pres">
      <dgm:prSet presAssocID="{E6B68188-F1B4-4DE3-B26E-C5597DBA8B4B}" presName="Name37" presStyleLbl="parChTrans1D3" presStyleIdx="5" presStyleCnt="27"/>
      <dgm:spPr>
        <a:custGeom>
          <a:avLst/>
          <a:gdLst/>
          <a:ahLst/>
          <a:cxnLst/>
          <a:rect l="0" t="0" r="0" b="0"/>
          <a:pathLst>
            <a:path>
              <a:moveTo>
                <a:pt x="185316" y="0"/>
              </a:moveTo>
              <a:lnTo>
                <a:pt x="0" y="4099005"/>
              </a:lnTo>
            </a:path>
          </a:pathLst>
        </a:custGeom>
      </dgm:spPr>
      <dgm:t>
        <a:bodyPr/>
        <a:lstStyle/>
        <a:p>
          <a:endParaRPr lang="en-GB"/>
        </a:p>
      </dgm:t>
    </dgm:pt>
    <dgm:pt modelId="{246507F2-0C22-4B24-A251-2A3228A61CE7}" type="pres">
      <dgm:prSet presAssocID="{AC209003-8BA6-44DF-A8F6-9D2C5C73FF0B}" presName="hierRoot2" presStyleCnt="0">
        <dgm:presLayoutVars>
          <dgm:hierBranch val="init"/>
        </dgm:presLayoutVars>
      </dgm:prSet>
      <dgm:spPr/>
    </dgm:pt>
    <dgm:pt modelId="{D77675F7-B28C-4D4B-84E1-B4DD449ADF02}" type="pres">
      <dgm:prSet presAssocID="{AC209003-8BA6-44DF-A8F6-9D2C5C73FF0B}" presName="rootComposite" presStyleCnt="0"/>
      <dgm:spPr/>
    </dgm:pt>
    <dgm:pt modelId="{4C1F4693-C8EA-4D49-A3D3-8D6D9A6A79CE}" type="pres">
      <dgm:prSet presAssocID="{AC209003-8BA6-44DF-A8F6-9D2C5C73FF0B}" presName="rootText" presStyleLbl="node3" presStyleIdx="5" presStyleCnt="27" custScaleX="428507" custScaleY="243573" custLinFactNeighborX="-94473" custLinFactNeighborY="-69130">
        <dgm:presLayoutVars>
          <dgm:chPref val="3"/>
        </dgm:presLayoutVars>
      </dgm:prSet>
      <dgm:spPr>
        <a:prstGeom prst="rect">
          <a:avLst/>
        </a:prstGeom>
      </dgm:spPr>
      <dgm:t>
        <a:bodyPr/>
        <a:lstStyle/>
        <a:p>
          <a:endParaRPr lang="en-GB"/>
        </a:p>
      </dgm:t>
    </dgm:pt>
    <dgm:pt modelId="{6FCF4D04-EFDA-413E-8BA0-F4AD778E5115}" type="pres">
      <dgm:prSet presAssocID="{AC209003-8BA6-44DF-A8F6-9D2C5C73FF0B}" presName="rootConnector" presStyleLbl="node3" presStyleIdx="5" presStyleCnt="27"/>
      <dgm:spPr/>
      <dgm:t>
        <a:bodyPr/>
        <a:lstStyle/>
        <a:p>
          <a:endParaRPr lang="en-GB"/>
        </a:p>
      </dgm:t>
    </dgm:pt>
    <dgm:pt modelId="{A0FB8380-7C63-4614-AC2A-5B0EBE61DAFD}" type="pres">
      <dgm:prSet presAssocID="{AC209003-8BA6-44DF-A8F6-9D2C5C73FF0B}" presName="hierChild4" presStyleCnt="0"/>
      <dgm:spPr/>
    </dgm:pt>
    <dgm:pt modelId="{CAB8D789-09E7-436B-8A7E-FA0CCF8BC7DA}" type="pres">
      <dgm:prSet presAssocID="{AC209003-8BA6-44DF-A8F6-9D2C5C73FF0B}" presName="hierChild5" presStyleCnt="0"/>
      <dgm:spPr/>
    </dgm:pt>
    <dgm:pt modelId="{CDD23DDC-118A-4A96-B6A6-9F156A5E2A9D}" type="pres">
      <dgm:prSet presAssocID="{3FA8E52E-41A8-4B79-88F3-ABDEBF17CD17}" presName="hierChild5" presStyleCnt="0"/>
      <dgm:spPr/>
    </dgm:pt>
    <dgm:pt modelId="{16194040-5E60-434D-BF92-83FD3BBE53B9}" type="pres">
      <dgm:prSet presAssocID="{C86C1488-BD31-4F23-97DB-7C2B89FF3AD9}" presName="Name37" presStyleLbl="parChTrans1D2" presStyleIdx="1" presStyleCnt="4"/>
      <dgm:spPr>
        <a:custGeom>
          <a:avLst/>
          <a:gdLst/>
          <a:ahLst/>
          <a:cxnLst/>
          <a:rect l="0" t="0" r="0" b="0"/>
          <a:pathLst>
            <a:path>
              <a:moveTo>
                <a:pt x="1469347" y="0"/>
              </a:moveTo>
              <a:lnTo>
                <a:pt x="1469347" y="50929"/>
              </a:lnTo>
              <a:lnTo>
                <a:pt x="0" y="50929"/>
              </a:lnTo>
              <a:lnTo>
                <a:pt x="0" y="122377"/>
              </a:lnTo>
            </a:path>
          </a:pathLst>
        </a:custGeom>
      </dgm:spPr>
      <dgm:t>
        <a:bodyPr/>
        <a:lstStyle/>
        <a:p>
          <a:endParaRPr lang="en-GB"/>
        </a:p>
      </dgm:t>
    </dgm:pt>
    <dgm:pt modelId="{9737D7A7-63F3-48BF-9933-04C5C8E1822C}" type="pres">
      <dgm:prSet presAssocID="{C210B5A7-FC8F-4CFB-888B-78A66105B5E3}" presName="hierRoot2" presStyleCnt="0">
        <dgm:presLayoutVars>
          <dgm:hierBranch val="init"/>
        </dgm:presLayoutVars>
      </dgm:prSet>
      <dgm:spPr/>
    </dgm:pt>
    <dgm:pt modelId="{A972BEBF-FC6A-4D64-AD40-05A77994A454}" type="pres">
      <dgm:prSet presAssocID="{C210B5A7-FC8F-4CFB-888B-78A66105B5E3}" presName="rootComposite" presStyleCnt="0"/>
      <dgm:spPr/>
    </dgm:pt>
    <dgm:pt modelId="{C633A689-B769-440B-A61E-472B58BC51D4}" type="pres">
      <dgm:prSet presAssocID="{C210B5A7-FC8F-4CFB-888B-78A66105B5E3}" presName="rootText" presStyleLbl="node2" presStyleIdx="1" presStyleCnt="4" custScaleX="489722" custScaleY="161051" custLinFactNeighborX="-3390" custLinFactNeighborY="-27919">
        <dgm:presLayoutVars>
          <dgm:chPref val="3"/>
        </dgm:presLayoutVars>
      </dgm:prSet>
      <dgm:spPr>
        <a:prstGeom prst="rect">
          <a:avLst/>
        </a:prstGeom>
      </dgm:spPr>
      <dgm:t>
        <a:bodyPr/>
        <a:lstStyle/>
        <a:p>
          <a:endParaRPr lang="en-GB"/>
        </a:p>
      </dgm:t>
    </dgm:pt>
    <dgm:pt modelId="{BBF4301C-272D-4A88-904A-92188D17DA3C}" type="pres">
      <dgm:prSet presAssocID="{C210B5A7-FC8F-4CFB-888B-78A66105B5E3}" presName="rootConnector" presStyleLbl="node2" presStyleIdx="1" presStyleCnt="4"/>
      <dgm:spPr/>
      <dgm:t>
        <a:bodyPr/>
        <a:lstStyle/>
        <a:p>
          <a:endParaRPr lang="en-GB"/>
        </a:p>
      </dgm:t>
    </dgm:pt>
    <dgm:pt modelId="{D9FC4B45-3F3E-44FD-BCD4-EE579804DF83}" type="pres">
      <dgm:prSet presAssocID="{C210B5A7-FC8F-4CFB-888B-78A66105B5E3}" presName="hierChild4" presStyleCnt="0"/>
      <dgm:spPr/>
    </dgm:pt>
    <dgm:pt modelId="{C981F861-5079-4644-BDF7-785B038AC3AD}" type="pres">
      <dgm:prSet presAssocID="{FF33382B-89C8-4B25-8169-CD7550BE112E}" presName="Name37" presStyleLbl="parChTrans1D3" presStyleIdx="6" presStyleCnt="27"/>
      <dgm:spPr>
        <a:custGeom>
          <a:avLst/>
          <a:gdLst/>
          <a:ahLst/>
          <a:cxnLst/>
          <a:rect l="0" t="0" r="0" b="0"/>
          <a:pathLst>
            <a:path>
              <a:moveTo>
                <a:pt x="216944" y="0"/>
              </a:moveTo>
              <a:lnTo>
                <a:pt x="0" y="281306"/>
              </a:lnTo>
            </a:path>
          </a:pathLst>
        </a:custGeom>
      </dgm:spPr>
      <dgm:t>
        <a:bodyPr/>
        <a:lstStyle/>
        <a:p>
          <a:endParaRPr lang="en-GB"/>
        </a:p>
      </dgm:t>
    </dgm:pt>
    <dgm:pt modelId="{BEBCB5B0-E952-4A7B-B366-2BD915D026FA}" type="pres">
      <dgm:prSet presAssocID="{8258131A-64F0-468E-89FA-30CD74677209}" presName="hierRoot2" presStyleCnt="0">
        <dgm:presLayoutVars>
          <dgm:hierBranch val="init"/>
        </dgm:presLayoutVars>
      </dgm:prSet>
      <dgm:spPr/>
    </dgm:pt>
    <dgm:pt modelId="{45EF025C-4C3D-4E6F-84F2-3559FBE2A839}" type="pres">
      <dgm:prSet presAssocID="{8258131A-64F0-468E-89FA-30CD74677209}" presName="rootComposite" presStyleCnt="0"/>
      <dgm:spPr/>
    </dgm:pt>
    <dgm:pt modelId="{C52F6E7A-06EB-4ED7-9448-A059B6929A94}" type="pres">
      <dgm:prSet presAssocID="{8258131A-64F0-468E-89FA-30CD74677209}" presName="rootText" presStyleLbl="node3" presStyleIdx="6" presStyleCnt="27" custScaleX="489722" custScaleY="133100" custLinFactX="-25585" custLinFactNeighborX="-100000" custLinFactNeighborY="-53788">
        <dgm:presLayoutVars>
          <dgm:chPref val="3"/>
        </dgm:presLayoutVars>
      </dgm:prSet>
      <dgm:spPr>
        <a:prstGeom prst="rect">
          <a:avLst/>
        </a:prstGeom>
      </dgm:spPr>
      <dgm:t>
        <a:bodyPr/>
        <a:lstStyle/>
        <a:p>
          <a:endParaRPr lang="en-GB"/>
        </a:p>
      </dgm:t>
    </dgm:pt>
    <dgm:pt modelId="{A0C33D3F-A411-47FC-90AA-856B0B304567}" type="pres">
      <dgm:prSet presAssocID="{8258131A-64F0-468E-89FA-30CD74677209}" presName="rootConnector" presStyleLbl="node3" presStyleIdx="6" presStyleCnt="27"/>
      <dgm:spPr/>
      <dgm:t>
        <a:bodyPr/>
        <a:lstStyle/>
        <a:p>
          <a:endParaRPr lang="en-GB"/>
        </a:p>
      </dgm:t>
    </dgm:pt>
    <dgm:pt modelId="{A7254F57-CE6A-451A-8333-3E530B873865}" type="pres">
      <dgm:prSet presAssocID="{8258131A-64F0-468E-89FA-30CD74677209}" presName="hierChild4" presStyleCnt="0"/>
      <dgm:spPr/>
    </dgm:pt>
    <dgm:pt modelId="{C4BDD475-7121-4C22-874C-C1A929C08BF4}" type="pres">
      <dgm:prSet presAssocID="{8258131A-64F0-468E-89FA-30CD74677209}" presName="hierChild5" presStyleCnt="0"/>
      <dgm:spPr/>
    </dgm:pt>
    <dgm:pt modelId="{DE8D8668-96E8-4FBC-8F48-E04927E8AF75}" type="pres">
      <dgm:prSet presAssocID="{FD01D34D-5E0D-46CB-A169-082DA7DAD974}" presName="Name37" presStyleLbl="parChTrans1D3" presStyleIdx="7" presStyleCnt="27"/>
      <dgm:spPr>
        <a:custGeom>
          <a:avLst/>
          <a:gdLst/>
          <a:ahLst/>
          <a:cxnLst/>
          <a:rect l="0" t="0" r="0" b="0"/>
          <a:pathLst>
            <a:path>
              <a:moveTo>
                <a:pt x="202723" y="0"/>
              </a:moveTo>
              <a:lnTo>
                <a:pt x="0" y="788523"/>
              </a:lnTo>
            </a:path>
          </a:pathLst>
        </a:custGeom>
      </dgm:spPr>
      <dgm:t>
        <a:bodyPr/>
        <a:lstStyle/>
        <a:p>
          <a:endParaRPr lang="en-GB"/>
        </a:p>
      </dgm:t>
    </dgm:pt>
    <dgm:pt modelId="{88FB0867-D1E0-45B1-BB04-D32B49A053A3}" type="pres">
      <dgm:prSet presAssocID="{DB7FB121-89FA-4FDA-BA06-6EB92D692684}" presName="hierRoot2" presStyleCnt="0">
        <dgm:presLayoutVars>
          <dgm:hierBranch val="init"/>
        </dgm:presLayoutVars>
      </dgm:prSet>
      <dgm:spPr/>
    </dgm:pt>
    <dgm:pt modelId="{BFD5BFA4-C2BA-484A-BD28-7C2D992780AE}" type="pres">
      <dgm:prSet presAssocID="{DB7FB121-89FA-4FDA-BA06-6EB92D692684}" presName="rootComposite" presStyleCnt="0"/>
      <dgm:spPr/>
    </dgm:pt>
    <dgm:pt modelId="{FA874DA8-4D76-40E4-B03F-68097D2BD076}" type="pres">
      <dgm:prSet presAssocID="{DB7FB121-89FA-4FDA-BA06-6EB92D692684}" presName="rootText" presStyleLbl="node3" presStyleIdx="7" presStyleCnt="27" custScaleX="489722" custScaleY="133196" custLinFactX="-23495" custLinFactNeighborX="-100000" custLinFactNeighborY="-79856">
        <dgm:presLayoutVars>
          <dgm:chPref val="3"/>
        </dgm:presLayoutVars>
      </dgm:prSet>
      <dgm:spPr>
        <a:prstGeom prst="rect">
          <a:avLst/>
        </a:prstGeom>
      </dgm:spPr>
      <dgm:t>
        <a:bodyPr/>
        <a:lstStyle/>
        <a:p>
          <a:endParaRPr lang="en-GB"/>
        </a:p>
      </dgm:t>
    </dgm:pt>
    <dgm:pt modelId="{F613A01D-7200-4858-BD85-9D67C40E7C98}" type="pres">
      <dgm:prSet presAssocID="{DB7FB121-89FA-4FDA-BA06-6EB92D692684}" presName="rootConnector" presStyleLbl="node3" presStyleIdx="7" presStyleCnt="27"/>
      <dgm:spPr/>
      <dgm:t>
        <a:bodyPr/>
        <a:lstStyle/>
        <a:p>
          <a:endParaRPr lang="en-GB"/>
        </a:p>
      </dgm:t>
    </dgm:pt>
    <dgm:pt modelId="{D17AC95D-A425-4D2A-BCE1-F8871780ECC2}" type="pres">
      <dgm:prSet presAssocID="{DB7FB121-89FA-4FDA-BA06-6EB92D692684}" presName="hierChild4" presStyleCnt="0"/>
      <dgm:spPr/>
    </dgm:pt>
    <dgm:pt modelId="{26B3467B-C8EA-4D03-9045-021F1A08FBFD}" type="pres">
      <dgm:prSet presAssocID="{DB7FB121-89FA-4FDA-BA06-6EB92D692684}" presName="hierChild5" presStyleCnt="0"/>
      <dgm:spPr/>
    </dgm:pt>
    <dgm:pt modelId="{DF2A5BDB-731B-4743-8645-30CC461A515D}" type="pres">
      <dgm:prSet presAssocID="{4D12AA29-479B-49C6-9FF2-D77C0C9C8CC6}" presName="Name37" presStyleLbl="parChTrans1D3" presStyleIdx="8" presStyleCnt="27"/>
      <dgm:spPr>
        <a:custGeom>
          <a:avLst/>
          <a:gdLst/>
          <a:ahLst/>
          <a:cxnLst/>
          <a:rect l="0" t="0" r="0" b="0"/>
          <a:pathLst>
            <a:path>
              <a:moveTo>
                <a:pt x="202723" y="0"/>
              </a:moveTo>
              <a:lnTo>
                <a:pt x="0" y="1348516"/>
              </a:lnTo>
            </a:path>
          </a:pathLst>
        </a:custGeom>
      </dgm:spPr>
      <dgm:t>
        <a:bodyPr/>
        <a:lstStyle/>
        <a:p>
          <a:endParaRPr lang="en-GB"/>
        </a:p>
      </dgm:t>
    </dgm:pt>
    <dgm:pt modelId="{F222851E-2C4A-438E-84CC-EEBEF9673ED1}" type="pres">
      <dgm:prSet presAssocID="{7520F216-6A93-4900-B03B-1CAE7FDB300B}" presName="hierRoot2" presStyleCnt="0">
        <dgm:presLayoutVars>
          <dgm:hierBranch val="init"/>
        </dgm:presLayoutVars>
      </dgm:prSet>
      <dgm:spPr/>
    </dgm:pt>
    <dgm:pt modelId="{2FA5E372-4952-48CE-9BF7-15A2B7F76045}" type="pres">
      <dgm:prSet presAssocID="{7520F216-6A93-4900-B03B-1CAE7FDB300B}" presName="rootComposite" presStyleCnt="0"/>
      <dgm:spPr/>
    </dgm:pt>
    <dgm:pt modelId="{04410A4D-7DCC-4946-8471-DFD4EE5F71CD}" type="pres">
      <dgm:prSet presAssocID="{7520F216-6A93-4900-B03B-1CAE7FDB300B}" presName="rootText" presStyleLbl="node3" presStyleIdx="8" presStyleCnt="27" custScaleX="489722" custScaleY="156767" custLinFactX="-23495" custLinFactY="-9234" custLinFactNeighborX="-100000" custLinFactNeighborY="-100000">
        <dgm:presLayoutVars>
          <dgm:chPref val="3"/>
        </dgm:presLayoutVars>
      </dgm:prSet>
      <dgm:spPr>
        <a:prstGeom prst="rect">
          <a:avLst/>
        </a:prstGeom>
      </dgm:spPr>
      <dgm:t>
        <a:bodyPr/>
        <a:lstStyle/>
        <a:p>
          <a:endParaRPr lang="en-GB"/>
        </a:p>
      </dgm:t>
    </dgm:pt>
    <dgm:pt modelId="{9D907A16-BA97-49F7-A8E0-04EB9E2BF3A6}" type="pres">
      <dgm:prSet presAssocID="{7520F216-6A93-4900-B03B-1CAE7FDB300B}" presName="rootConnector" presStyleLbl="node3" presStyleIdx="8" presStyleCnt="27"/>
      <dgm:spPr/>
      <dgm:t>
        <a:bodyPr/>
        <a:lstStyle/>
        <a:p>
          <a:endParaRPr lang="en-GB"/>
        </a:p>
      </dgm:t>
    </dgm:pt>
    <dgm:pt modelId="{A90F16CA-A95E-41A3-B02F-4344A4FB0D74}" type="pres">
      <dgm:prSet presAssocID="{7520F216-6A93-4900-B03B-1CAE7FDB300B}" presName="hierChild4" presStyleCnt="0"/>
      <dgm:spPr/>
    </dgm:pt>
    <dgm:pt modelId="{C4475F51-E6C7-4F33-810C-B97B00BA8D02}" type="pres">
      <dgm:prSet presAssocID="{7520F216-6A93-4900-B03B-1CAE7FDB300B}" presName="hierChild5" presStyleCnt="0"/>
      <dgm:spPr/>
    </dgm:pt>
    <dgm:pt modelId="{B743BF5E-8E74-4AA4-AF77-FEB591727596}" type="pres">
      <dgm:prSet presAssocID="{9E6D193C-AE2E-4C60-B40E-8A836963A6ED}" presName="Name37" presStyleLbl="parChTrans1D3" presStyleIdx="9" presStyleCnt="27"/>
      <dgm:spPr>
        <a:custGeom>
          <a:avLst/>
          <a:gdLst/>
          <a:ahLst/>
          <a:cxnLst/>
          <a:rect l="0" t="0" r="0" b="0"/>
          <a:pathLst>
            <a:path>
              <a:moveTo>
                <a:pt x="202723" y="0"/>
              </a:moveTo>
              <a:lnTo>
                <a:pt x="0" y="2076109"/>
              </a:lnTo>
            </a:path>
          </a:pathLst>
        </a:custGeom>
      </dgm:spPr>
      <dgm:t>
        <a:bodyPr/>
        <a:lstStyle/>
        <a:p>
          <a:endParaRPr lang="en-GB"/>
        </a:p>
      </dgm:t>
    </dgm:pt>
    <dgm:pt modelId="{CD5184F5-D5F6-46CC-97B3-EBCFD5902623}" type="pres">
      <dgm:prSet presAssocID="{D6F17EA9-E082-43E6-9D65-85C43DB9E61E}" presName="hierRoot2" presStyleCnt="0">
        <dgm:presLayoutVars>
          <dgm:hierBranch val="init"/>
        </dgm:presLayoutVars>
      </dgm:prSet>
      <dgm:spPr/>
    </dgm:pt>
    <dgm:pt modelId="{C56F44D4-5F14-493A-BE16-DF4F2EFE43BF}" type="pres">
      <dgm:prSet presAssocID="{D6F17EA9-E082-43E6-9D65-85C43DB9E61E}" presName="rootComposite" presStyleCnt="0"/>
      <dgm:spPr/>
    </dgm:pt>
    <dgm:pt modelId="{0E40AEC0-2671-423A-8A47-DC6E1E2C8277}" type="pres">
      <dgm:prSet presAssocID="{D6F17EA9-E082-43E6-9D65-85C43DB9E61E}" presName="rootText" presStyleLbl="node3" presStyleIdx="9" presStyleCnt="27" custScaleX="489722" custScaleY="212756" custLinFactX="-23495" custLinFactY="-32625" custLinFactNeighborX="-100000" custLinFactNeighborY="-100000">
        <dgm:presLayoutVars>
          <dgm:chPref val="3"/>
        </dgm:presLayoutVars>
      </dgm:prSet>
      <dgm:spPr>
        <a:prstGeom prst="rect">
          <a:avLst/>
        </a:prstGeom>
      </dgm:spPr>
      <dgm:t>
        <a:bodyPr/>
        <a:lstStyle/>
        <a:p>
          <a:endParaRPr lang="en-GB"/>
        </a:p>
      </dgm:t>
    </dgm:pt>
    <dgm:pt modelId="{0415C0B4-BF22-4E0A-9719-027F6097DCDD}" type="pres">
      <dgm:prSet presAssocID="{D6F17EA9-E082-43E6-9D65-85C43DB9E61E}" presName="rootConnector" presStyleLbl="node3" presStyleIdx="9" presStyleCnt="27"/>
      <dgm:spPr/>
      <dgm:t>
        <a:bodyPr/>
        <a:lstStyle/>
        <a:p>
          <a:endParaRPr lang="en-GB"/>
        </a:p>
      </dgm:t>
    </dgm:pt>
    <dgm:pt modelId="{0C0E6B72-C126-415D-880A-22C7AC233C4C}" type="pres">
      <dgm:prSet presAssocID="{D6F17EA9-E082-43E6-9D65-85C43DB9E61E}" presName="hierChild4" presStyleCnt="0"/>
      <dgm:spPr/>
    </dgm:pt>
    <dgm:pt modelId="{614B6606-92CC-4D97-B498-7B815EFFBAE7}" type="pres">
      <dgm:prSet presAssocID="{D6F17EA9-E082-43E6-9D65-85C43DB9E61E}" presName="hierChild5" presStyleCnt="0"/>
      <dgm:spPr/>
    </dgm:pt>
    <dgm:pt modelId="{6B9BB72C-C16E-4812-A426-8736B0F4D50D}" type="pres">
      <dgm:prSet presAssocID="{68FB7B31-DBFA-4E20-A5A9-242EBD808708}" presName="Name37" presStyleLbl="parChTrans1D3" presStyleIdx="10" presStyleCnt="27"/>
      <dgm:spPr>
        <a:custGeom>
          <a:avLst/>
          <a:gdLst/>
          <a:ahLst/>
          <a:cxnLst/>
          <a:rect l="0" t="0" r="0" b="0"/>
          <a:pathLst>
            <a:path>
              <a:moveTo>
                <a:pt x="202723" y="0"/>
              </a:moveTo>
              <a:lnTo>
                <a:pt x="0" y="2747474"/>
              </a:lnTo>
            </a:path>
          </a:pathLst>
        </a:custGeom>
      </dgm:spPr>
      <dgm:t>
        <a:bodyPr/>
        <a:lstStyle/>
        <a:p>
          <a:endParaRPr lang="en-GB"/>
        </a:p>
      </dgm:t>
    </dgm:pt>
    <dgm:pt modelId="{F96F047D-A9FC-4FF5-A8C1-941933C779B4}" type="pres">
      <dgm:prSet presAssocID="{A67701C2-2154-49A9-AEE7-642B0F6E0EDA}" presName="hierRoot2" presStyleCnt="0">
        <dgm:presLayoutVars>
          <dgm:hierBranch val="init"/>
        </dgm:presLayoutVars>
      </dgm:prSet>
      <dgm:spPr/>
    </dgm:pt>
    <dgm:pt modelId="{045801E2-3B02-4A8F-9585-6867B7DD31BC}" type="pres">
      <dgm:prSet presAssocID="{A67701C2-2154-49A9-AEE7-642B0F6E0EDA}" presName="rootComposite" presStyleCnt="0"/>
      <dgm:spPr/>
    </dgm:pt>
    <dgm:pt modelId="{EA59485D-2E2F-42CB-B81B-A0E1E3EA3A1C}" type="pres">
      <dgm:prSet presAssocID="{A67701C2-2154-49A9-AEE7-642B0F6E0EDA}" presName="rootText" presStyleLbl="node3" presStyleIdx="10" presStyleCnt="27" custScaleX="489722" custScaleY="133196" custLinFactX="-23495" custLinFactY="-57263" custLinFactNeighborX="-100000" custLinFactNeighborY="-100000">
        <dgm:presLayoutVars>
          <dgm:chPref val="3"/>
        </dgm:presLayoutVars>
      </dgm:prSet>
      <dgm:spPr>
        <a:prstGeom prst="rect">
          <a:avLst/>
        </a:prstGeom>
      </dgm:spPr>
      <dgm:t>
        <a:bodyPr/>
        <a:lstStyle/>
        <a:p>
          <a:endParaRPr lang="en-GB"/>
        </a:p>
      </dgm:t>
    </dgm:pt>
    <dgm:pt modelId="{3C113E1E-FE54-4128-B244-37B8276C710C}" type="pres">
      <dgm:prSet presAssocID="{A67701C2-2154-49A9-AEE7-642B0F6E0EDA}" presName="rootConnector" presStyleLbl="node3" presStyleIdx="10" presStyleCnt="27"/>
      <dgm:spPr/>
      <dgm:t>
        <a:bodyPr/>
        <a:lstStyle/>
        <a:p>
          <a:endParaRPr lang="en-GB"/>
        </a:p>
      </dgm:t>
    </dgm:pt>
    <dgm:pt modelId="{94918608-EE8D-46B0-BBEE-532A885864C4}" type="pres">
      <dgm:prSet presAssocID="{A67701C2-2154-49A9-AEE7-642B0F6E0EDA}" presName="hierChild4" presStyleCnt="0"/>
      <dgm:spPr/>
    </dgm:pt>
    <dgm:pt modelId="{0351236A-BFB1-48C2-9E8E-AB3FA5B6820D}" type="pres">
      <dgm:prSet presAssocID="{A67701C2-2154-49A9-AEE7-642B0F6E0EDA}" presName="hierChild5" presStyleCnt="0"/>
      <dgm:spPr/>
    </dgm:pt>
    <dgm:pt modelId="{36BF8A7A-9D89-41C0-8B99-0645BE0B5C9B}" type="pres">
      <dgm:prSet presAssocID="{84939823-9C1A-4A52-8238-B36504B8A531}" presName="Name37" presStyleLbl="parChTrans1D3" presStyleIdx="11" presStyleCnt="27"/>
      <dgm:spPr>
        <a:custGeom>
          <a:avLst/>
          <a:gdLst/>
          <a:ahLst/>
          <a:cxnLst/>
          <a:rect l="0" t="0" r="0" b="0"/>
          <a:pathLst>
            <a:path>
              <a:moveTo>
                <a:pt x="202723" y="0"/>
              </a:moveTo>
              <a:lnTo>
                <a:pt x="0" y="3267712"/>
              </a:lnTo>
            </a:path>
          </a:pathLst>
        </a:custGeom>
      </dgm:spPr>
      <dgm:t>
        <a:bodyPr/>
        <a:lstStyle/>
        <a:p>
          <a:endParaRPr lang="en-GB"/>
        </a:p>
      </dgm:t>
    </dgm:pt>
    <dgm:pt modelId="{38485F78-C0C3-43BA-9E36-BF58157B13ED}" type="pres">
      <dgm:prSet presAssocID="{AD9B6B29-76D5-426B-93B6-5BFE62AB229B}" presName="hierRoot2" presStyleCnt="0">
        <dgm:presLayoutVars>
          <dgm:hierBranch val="init"/>
        </dgm:presLayoutVars>
      </dgm:prSet>
      <dgm:spPr/>
    </dgm:pt>
    <dgm:pt modelId="{7D166BD7-9271-4007-8979-6A6AC379B8BB}" type="pres">
      <dgm:prSet presAssocID="{AD9B6B29-76D5-426B-93B6-5BFE62AB229B}" presName="rootComposite" presStyleCnt="0"/>
      <dgm:spPr/>
    </dgm:pt>
    <dgm:pt modelId="{69577400-3728-444D-96E5-E59C84094316}" type="pres">
      <dgm:prSet presAssocID="{AD9B6B29-76D5-426B-93B6-5BFE62AB229B}" presName="rootText" presStyleLbl="node3" presStyleIdx="11" presStyleCnt="27" custScaleX="489722" custScaleY="133196" custLinFactX="-23495" custLinFactY="-83046" custLinFactNeighborX="-100000" custLinFactNeighborY="-100000">
        <dgm:presLayoutVars>
          <dgm:chPref val="3"/>
        </dgm:presLayoutVars>
      </dgm:prSet>
      <dgm:spPr>
        <a:prstGeom prst="rect">
          <a:avLst/>
        </a:prstGeom>
      </dgm:spPr>
      <dgm:t>
        <a:bodyPr/>
        <a:lstStyle/>
        <a:p>
          <a:endParaRPr lang="en-GB"/>
        </a:p>
      </dgm:t>
    </dgm:pt>
    <dgm:pt modelId="{BAABFAAE-EC69-4E1F-B78D-D84BCDA0D6AD}" type="pres">
      <dgm:prSet presAssocID="{AD9B6B29-76D5-426B-93B6-5BFE62AB229B}" presName="rootConnector" presStyleLbl="node3" presStyleIdx="11" presStyleCnt="27"/>
      <dgm:spPr/>
      <dgm:t>
        <a:bodyPr/>
        <a:lstStyle/>
        <a:p>
          <a:endParaRPr lang="en-GB"/>
        </a:p>
      </dgm:t>
    </dgm:pt>
    <dgm:pt modelId="{BAF3FA39-621A-4DE6-9C1B-81F51A563D85}" type="pres">
      <dgm:prSet presAssocID="{AD9B6B29-76D5-426B-93B6-5BFE62AB229B}" presName="hierChild4" presStyleCnt="0"/>
      <dgm:spPr/>
    </dgm:pt>
    <dgm:pt modelId="{B2F783A7-FEDE-4B91-A083-2D03DD6B5A32}" type="pres">
      <dgm:prSet presAssocID="{AD9B6B29-76D5-426B-93B6-5BFE62AB229B}" presName="hierChild5" presStyleCnt="0"/>
      <dgm:spPr/>
    </dgm:pt>
    <dgm:pt modelId="{EDD6B248-4CEB-4654-9033-ED2BD107A221}" type="pres">
      <dgm:prSet presAssocID="{53973304-1394-4263-9745-1D093A3A9643}" presName="Name37" presStyleLbl="parChTrans1D3" presStyleIdx="12" presStyleCnt="27"/>
      <dgm:spPr>
        <a:custGeom>
          <a:avLst/>
          <a:gdLst/>
          <a:ahLst/>
          <a:cxnLst/>
          <a:rect l="0" t="0" r="0" b="0"/>
          <a:pathLst>
            <a:path>
              <a:moveTo>
                <a:pt x="205655" y="0"/>
              </a:moveTo>
              <a:lnTo>
                <a:pt x="0" y="3792666"/>
              </a:lnTo>
            </a:path>
          </a:pathLst>
        </a:custGeom>
      </dgm:spPr>
      <dgm:t>
        <a:bodyPr/>
        <a:lstStyle/>
        <a:p>
          <a:endParaRPr lang="en-GB"/>
        </a:p>
      </dgm:t>
    </dgm:pt>
    <dgm:pt modelId="{F59716A7-2858-4185-A535-D6A46C708F35}" type="pres">
      <dgm:prSet presAssocID="{6FFB1031-0A73-4469-BCC7-5B3640D26945}" presName="hierRoot2" presStyleCnt="0">
        <dgm:presLayoutVars>
          <dgm:hierBranch val="init"/>
        </dgm:presLayoutVars>
      </dgm:prSet>
      <dgm:spPr/>
    </dgm:pt>
    <dgm:pt modelId="{3D357C93-C264-4972-9671-30636AA2D4E6}" type="pres">
      <dgm:prSet presAssocID="{6FFB1031-0A73-4469-BCC7-5B3640D26945}" presName="rootComposite" presStyleCnt="0"/>
      <dgm:spPr/>
    </dgm:pt>
    <dgm:pt modelId="{830D38BF-6282-47C5-BAC0-DF00893C467F}" type="pres">
      <dgm:prSet presAssocID="{6FFB1031-0A73-4469-BCC7-5B3640D26945}" presName="rootText" presStyleLbl="node3" presStyleIdx="12" presStyleCnt="27" custScaleX="489722" custScaleY="133196" custLinFactX="-23926" custLinFactY="-100000" custLinFactNeighborX="-100000" custLinFactNeighborY="-107443">
        <dgm:presLayoutVars>
          <dgm:chPref val="3"/>
        </dgm:presLayoutVars>
      </dgm:prSet>
      <dgm:spPr>
        <a:prstGeom prst="rect">
          <a:avLst/>
        </a:prstGeom>
      </dgm:spPr>
      <dgm:t>
        <a:bodyPr/>
        <a:lstStyle/>
        <a:p>
          <a:endParaRPr lang="en-GB"/>
        </a:p>
      </dgm:t>
    </dgm:pt>
    <dgm:pt modelId="{50DD9E39-4F50-40C5-BD65-39D9CA175641}" type="pres">
      <dgm:prSet presAssocID="{6FFB1031-0A73-4469-BCC7-5B3640D26945}" presName="rootConnector" presStyleLbl="node3" presStyleIdx="12" presStyleCnt="27"/>
      <dgm:spPr/>
      <dgm:t>
        <a:bodyPr/>
        <a:lstStyle/>
        <a:p>
          <a:endParaRPr lang="en-GB"/>
        </a:p>
      </dgm:t>
    </dgm:pt>
    <dgm:pt modelId="{0CC16348-B4E0-4B13-985D-E52B186059EA}" type="pres">
      <dgm:prSet presAssocID="{6FFB1031-0A73-4469-BCC7-5B3640D26945}" presName="hierChild4" presStyleCnt="0"/>
      <dgm:spPr/>
    </dgm:pt>
    <dgm:pt modelId="{1D324484-253B-48C3-8F38-36D2065AE951}" type="pres">
      <dgm:prSet presAssocID="{6FFB1031-0A73-4469-BCC7-5B3640D26945}" presName="hierChild5" presStyleCnt="0"/>
      <dgm:spPr/>
    </dgm:pt>
    <dgm:pt modelId="{5FAD3576-45D6-41B4-8CB0-E188125E4354}" type="pres">
      <dgm:prSet presAssocID="{64F965F4-0063-4154-85F6-3E001459EE1E}" presName="Name37" presStyleLbl="parChTrans1D3" presStyleIdx="13" presStyleCnt="27"/>
      <dgm:spPr>
        <a:custGeom>
          <a:avLst/>
          <a:gdLst/>
          <a:ahLst/>
          <a:cxnLst/>
          <a:rect l="0" t="0" r="0" b="0"/>
          <a:pathLst>
            <a:path>
              <a:moveTo>
                <a:pt x="189379" y="0"/>
              </a:moveTo>
              <a:lnTo>
                <a:pt x="0" y="4298811"/>
              </a:lnTo>
            </a:path>
          </a:pathLst>
        </a:custGeom>
      </dgm:spPr>
      <dgm:t>
        <a:bodyPr/>
        <a:lstStyle/>
        <a:p>
          <a:endParaRPr lang="en-GB"/>
        </a:p>
      </dgm:t>
    </dgm:pt>
    <dgm:pt modelId="{FD64AC5D-3B06-4EF8-93BA-4CCDB222F53A}" type="pres">
      <dgm:prSet presAssocID="{772FF846-B977-4229-8998-FD334892F6D6}" presName="hierRoot2" presStyleCnt="0">
        <dgm:presLayoutVars>
          <dgm:hierBranch val="init"/>
        </dgm:presLayoutVars>
      </dgm:prSet>
      <dgm:spPr/>
    </dgm:pt>
    <dgm:pt modelId="{DC936B57-C0BC-40EC-9903-C1566FD66FA2}" type="pres">
      <dgm:prSet presAssocID="{772FF846-B977-4229-8998-FD334892F6D6}" presName="rootComposite" presStyleCnt="0"/>
      <dgm:spPr/>
    </dgm:pt>
    <dgm:pt modelId="{FCD4C20C-521F-4545-939A-8A7799913E93}" type="pres">
      <dgm:prSet presAssocID="{772FF846-B977-4229-8998-FD334892F6D6}" presName="rootText" presStyleLbl="node3" presStyleIdx="13" presStyleCnt="27" custScaleX="489722" custScaleY="121198" custLinFactX="-21534" custLinFactY="-100000" custLinFactNeighborX="-100000" custLinFactNeighborY="-131369">
        <dgm:presLayoutVars>
          <dgm:chPref val="3"/>
        </dgm:presLayoutVars>
      </dgm:prSet>
      <dgm:spPr>
        <a:prstGeom prst="rect">
          <a:avLst/>
        </a:prstGeom>
      </dgm:spPr>
      <dgm:t>
        <a:bodyPr/>
        <a:lstStyle/>
        <a:p>
          <a:endParaRPr lang="en-GB"/>
        </a:p>
      </dgm:t>
    </dgm:pt>
    <dgm:pt modelId="{7095D4F8-1C8A-4F9A-9B63-236944966ED1}" type="pres">
      <dgm:prSet presAssocID="{772FF846-B977-4229-8998-FD334892F6D6}" presName="rootConnector" presStyleLbl="node3" presStyleIdx="13" presStyleCnt="27"/>
      <dgm:spPr/>
      <dgm:t>
        <a:bodyPr/>
        <a:lstStyle/>
        <a:p>
          <a:endParaRPr lang="en-GB"/>
        </a:p>
      </dgm:t>
    </dgm:pt>
    <dgm:pt modelId="{314F22F5-9ABF-4039-8D7C-8B5A5E7D7EC7}" type="pres">
      <dgm:prSet presAssocID="{772FF846-B977-4229-8998-FD334892F6D6}" presName="hierChild4" presStyleCnt="0"/>
      <dgm:spPr/>
    </dgm:pt>
    <dgm:pt modelId="{07DB01D3-0ECB-4E38-AAD6-577396565579}" type="pres">
      <dgm:prSet presAssocID="{772FF846-B977-4229-8998-FD334892F6D6}" presName="hierChild5" presStyleCnt="0"/>
      <dgm:spPr/>
    </dgm:pt>
    <dgm:pt modelId="{C18432C2-F5A3-442A-9977-38AEE04F13DD}" type="pres">
      <dgm:prSet presAssocID="{128CD2A8-559B-42A1-B1A9-0396AC1A0AFE}" presName="Name37" presStyleLbl="parChTrans1D3" presStyleIdx="14" presStyleCnt="27"/>
      <dgm:spPr>
        <a:custGeom>
          <a:avLst/>
          <a:gdLst/>
          <a:ahLst/>
          <a:cxnLst/>
          <a:rect l="0" t="0" r="0" b="0"/>
          <a:pathLst>
            <a:path>
              <a:moveTo>
                <a:pt x="172986" y="0"/>
              </a:moveTo>
              <a:lnTo>
                <a:pt x="0" y="4854416"/>
              </a:lnTo>
            </a:path>
          </a:pathLst>
        </a:custGeom>
      </dgm:spPr>
      <dgm:t>
        <a:bodyPr/>
        <a:lstStyle/>
        <a:p>
          <a:endParaRPr lang="en-GB"/>
        </a:p>
      </dgm:t>
    </dgm:pt>
    <dgm:pt modelId="{6AE34D16-582D-406C-9420-799CC7F5A7AE}" type="pres">
      <dgm:prSet presAssocID="{DE6CB324-04C8-4039-A4A1-2D784450FD41}" presName="hierRoot2" presStyleCnt="0">
        <dgm:presLayoutVars>
          <dgm:hierBranch val="init"/>
        </dgm:presLayoutVars>
      </dgm:prSet>
      <dgm:spPr/>
    </dgm:pt>
    <dgm:pt modelId="{54DDDA25-6982-44A6-A3A4-FD7DD827E08C}" type="pres">
      <dgm:prSet presAssocID="{DE6CB324-04C8-4039-A4A1-2D784450FD41}" presName="rootComposite" presStyleCnt="0"/>
      <dgm:spPr/>
    </dgm:pt>
    <dgm:pt modelId="{B831C22F-984D-4917-BB77-DA19C75E8EEC}" type="pres">
      <dgm:prSet presAssocID="{DE6CB324-04C8-4039-A4A1-2D784450FD41}" presName="rootText" presStyleLbl="node3" presStyleIdx="14" presStyleCnt="27" custScaleX="489722" custScaleY="149596" custLinFactX="-19125" custLinFactY="-100000" custLinFactNeighborX="-100000" custLinFactNeighborY="-155946">
        <dgm:presLayoutVars>
          <dgm:chPref val="3"/>
        </dgm:presLayoutVars>
      </dgm:prSet>
      <dgm:spPr>
        <a:prstGeom prst="rect">
          <a:avLst/>
        </a:prstGeom>
      </dgm:spPr>
      <dgm:t>
        <a:bodyPr/>
        <a:lstStyle/>
        <a:p>
          <a:endParaRPr lang="en-GB"/>
        </a:p>
      </dgm:t>
    </dgm:pt>
    <dgm:pt modelId="{8315F59C-535C-41A3-9977-47ED97AB1D59}" type="pres">
      <dgm:prSet presAssocID="{DE6CB324-04C8-4039-A4A1-2D784450FD41}" presName="rootConnector" presStyleLbl="node3" presStyleIdx="14" presStyleCnt="27"/>
      <dgm:spPr/>
      <dgm:t>
        <a:bodyPr/>
        <a:lstStyle/>
        <a:p>
          <a:endParaRPr lang="en-GB"/>
        </a:p>
      </dgm:t>
    </dgm:pt>
    <dgm:pt modelId="{DDD0FE66-9AAF-4CF9-9EE4-075FBC445F44}" type="pres">
      <dgm:prSet presAssocID="{DE6CB324-04C8-4039-A4A1-2D784450FD41}" presName="hierChild4" presStyleCnt="0"/>
      <dgm:spPr/>
    </dgm:pt>
    <dgm:pt modelId="{46289894-ECFE-4885-B42C-38D755361C48}" type="pres">
      <dgm:prSet presAssocID="{DE6CB324-04C8-4039-A4A1-2D784450FD41}" presName="hierChild5" presStyleCnt="0"/>
      <dgm:spPr/>
    </dgm:pt>
    <dgm:pt modelId="{23EDB892-9EB4-4D68-BBE5-B200E79A66A9}" type="pres">
      <dgm:prSet presAssocID="{862E5178-4EA9-49DF-9E29-89AA5E3C5029}" presName="Name37" presStyleLbl="parChTrans1D3" presStyleIdx="15" presStyleCnt="27"/>
      <dgm:spPr>
        <a:custGeom>
          <a:avLst/>
          <a:gdLst/>
          <a:ahLst/>
          <a:cxnLst/>
          <a:rect l="0" t="0" r="0" b="0"/>
          <a:pathLst>
            <a:path>
              <a:moveTo>
                <a:pt x="158173" y="0"/>
              </a:moveTo>
              <a:lnTo>
                <a:pt x="0" y="5385340"/>
              </a:lnTo>
            </a:path>
          </a:pathLst>
        </a:custGeom>
      </dgm:spPr>
      <dgm:t>
        <a:bodyPr/>
        <a:lstStyle/>
        <a:p>
          <a:endParaRPr lang="en-GB"/>
        </a:p>
      </dgm:t>
    </dgm:pt>
    <dgm:pt modelId="{3018BE9B-499A-46FA-B678-0395BD203C40}" type="pres">
      <dgm:prSet presAssocID="{9EBBB895-7600-4C5C-AD2A-85DBB7813F37}" presName="hierRoot2" presStyleCnt="0">
        <dgm:presLayoutVars>
          <dgm:hierBranch val="init"/>
        </dgm:presLayoutVars>
      </dgm:prSet>
      <dgm:spPr/>
    </dgm:pt>
    <dgm:pt modelId="{77BAEB05-B0AE-43B7-8916-5ABA409AE86C}" type="pres">
      <dgm:prSet presAssocID="{9EBBB895-7600-4C5C-AD2A-85DBB7813F37}" presName="rootComposite" presStyleCnt="0"/>
      <dgm:spPr/>
    </dgm:pt>
    <dgm:pt modelId="{61FA1666-3CB0-4FB2-8C4B-E313F9D14383}" type="pres">
      <dgm:prSet presAssocID="{9EBBB895-7600-4C5C-AD2A-85DBB7813F37}" presName="rootText" presStyleLbl="node3" presStyleIdx="15" presStyleCnt="27" custScaleX="489722" custLinFactX="-22244" custLinFactY="-108170" custLinFactNeighborX="-100000" custLinFactNeighborY="-200000">
        <dgm:presLayoutVars>
          <dgm:chPref val="3"/>
        </dgm:presLayoutVars>
      </dgm:prSet>
      <dgm:spPr>
        <a:prstGeom prst="rect">
          <a:avLst/>
        </a:prstGeom>
      </dgm:spPr>
      <dgm:t>
        <a:bodyPr/>
        <a:lstStyle/>
        <a:p>
          <a:endParaRPr lang="en-GB"/>
        </a:p>
      </dgm:t>
    </dgm:pt>
    <dgm:pt modelId="{14794923-454C-4188-8CA2-A3764EA77813}" type="pres">
      <dgm:prSet presAssocID="{9EBBB895-7600-4C5C-AD2A-85DBB7813F37}" presName="rootConnector" presStyleLbl="node3" presStyleIdx="15" presStyleCnt="27"/>
      <dgm:spPr/>
      <dgm:t>
        <a:bodyPr/>
        <a:lstStyle/>
        <a:p>
          <a:endParaRPr lang="en-GB"/>
        </a:p>
      </dgm:t>
    </dgm:pt>
    <dgm:pt modelId="{28C78716-BDA8-44DC-A378-37545D8133BD}" type="pres">
      <dgm:prSet presAssocID="{9EBBB895-7600-4C5C-AD2A-85DBB7813F37}" presName="hierChild4" presStyleCnt="0"/>
      <dgm:spPr/>
    </dgm:pt>
    <dgm:pt modelId="{4F154440-422F-4F9E-AF96-A0ACF29A387B}" type="pres">
      <dgm:prSet presAssocID="{9EBBB895-7600-4C5C-AD2A-85DBB7813F37}" presName="hierChild5" presStyleCnt="0"/>
      <dgm:spPr/>
    </dgm:pt>
    <dgm:pt modelId="{03DD41D6-FCC6-4D83-AEDC-06B212AA9FF6}" type="pres">
      <dgm:prSet presAssocID="{C210B5A7-FC8F-4CFB-888B-78A66105B5E3}" presName="hierChild5" presStyleCnt="0"/>
      <dgm:spPr/>
    </dgm:pt>
    <dgm:pt modelId="{748B4E46-BCEA-4B90-9F45-8240389CE2F0}" type="pres">
      <dgm:prSet presAssocID="{6FB800BF-C0D2-4431-90AD-DB6C6F916073}" presName="Name37" presStyleLbl="parChTrans1D2" presStyleIdx="2" presStyleCnt="4"/>
      <dgm:spPr>
        <a:custGeom>
          <a:avLst/>
          <a:gdLst/>
          <a:ahLst/>
          <a:cxnLst/>
          <a:rect l="0" t="0" r="0" b="0"/>
          <a:pathLst>
            <a:path>
              <a:moveTo>
                <a:pt x="0" y="0"/>
              </a:moveTo>
              <a:lnTo>
                <a:pt x="0" y="59506"/>
              </a:lnTo>
              <a:lnTo>
                <a:pt x="1478935" y="59506"/>
              </a:lnTo>
              <a:lnTo>
                <a:pt x="1478935" y="130955"/>
              </a:lnTo>
            </a:path>
          </a:pathLst>
        </a:custGeom>
      </dgm:spPr>
      <dgm:t>
        <a:bodyPr/>
        <a:lstStyle/>
        <a:p>
          <a:endParaRPr lang="en-GB"/>
        </a:p>
      </dgm:t>
    </dgm:pt>
    <dgm:pt modelId="{B68D8F3A-DC82-4FFE-B512-7099E3AEA713}" type="pres">
      <dgm:prSet presAssocID="{4A2B5A49-02C5-4CAF-B182-FD73BC39F0B6}" presName="hierRoot2" presStyleCnt="0">
        <dgm:presLayoutVars>
          <dgm:hierBranch val="init"/>
        </dgm:presLayoutVars>
      </dgm:prSet>
      <dgm:spPr/>
    </dgm:pt>
    <dgm:pt modelId="{5BC34B2E-9029-44CF-B05B-F90E38971D23}" type="pres">
      <dgm:prSet presAssocID="{4A2B5A49-02C5-4CAF-B182-FD73BC39F0B6}" presName="rootComposite" presStyleCnt="0"/>
      <dgm:spPr/>
    </dgm:pt>
    <dgm:pt modelId="{A1A7E265-6B33-4908-BF5C-D6CD576CE0F9}" type="pres">
      <dgm:prSet presAssocID="{4A2B5A49-02C5-4CAF-B182-FD73BC39F0B6}" presName="rootText" presStyleLbl="node2" presStyleIdx="2" presStyleCnt="4" custScaleX="489722" custScaleY="161051" custLinFactNeighborX="4799" custLinFactNeighborY="-25398">
        <dgm:presLayoutVars>
          <dgm:chPref val="3"/>
        </dgm:presLayoutVars>
      </dgm:prSet>
      <dgm:spPr>
        <a:prstGeom prst="rect">
          <a:avLst/>
        </a:prstGeom>
      </dgm:spPr>
      <dgm:t>
        <a:bodyPr/>
        <a:lstStyle/>
        <a:p>
          <a:endParaRPr lang="en-GB"/>
        </a:p>
      </dgm:t>
    </dgm:pt>
    <dgm:pt modelId="{439D2B84-4BEE-4138-999D-519850687B31}" type="pres">
      <dgm:prSet presAssocID="{4A2B5A49-02C5-4CAF-B182-FD73BC39F0B6}" presName="rootConnector" presStyleLbl="node2" presStyleIdx="2" presStyleCnt="4"/>
      <dgm:spPr/>
      <dgm:t>
        <a:bodyPr/>
        <a:lstStyle/>
        <a:p>
          <a:endParaRPr lang="en-GB"/>
        </a:p>
      </dgm:t>
    </dgm:pt>
    <dgm:pt modelId="{D7D25BC5-EA56-4E39-91BA-6C064172B7DA}" type="pres">
      <dgm:prSet presAssocID="{4A2B5A49-02C5-4CAF-B182-FD73BC39F0B6}" presName="hierChild4" presStyleCnt="0"/>
      <dgm:spPr/>
    </dgm:pt>
    <dgm:pt modelId="{CA3AC0F8-D2DD-45A4-986D-8A7CA3FCA483}" type="pres">
      <dgm:prSet presAssocID="{0501E4C1-E7FE-472A-A140-201BB0837341}" presName="Name37" presStyleLbl="parChTrans1D3" presStyleIdx="16" presStyleCnt="27"/>
      <dgm:spPr>
        <a:custGeom>
          <a:avLst/>
          <a:gdLst/>
          <a:ahLst/>
          <a:cxnLst/>
          <a:rect l="0" t="0" r="0" b="0"/>
          <a:pathLst>
            <a:path>
              <a:moveTo>
                <a:pt x="242271" y="0"/>
              </a:moveTo>
              <a:lnTo>
                <a:pt x="0" y="399729"/>
              </a:lnTo>
            </a:path>
          </a:pathLst>
        </a:custGeom>
      </dgm:spPr>
      <dgm:t>
        <a:bodyPr/>
        <a:lstStyle/>
        <a:p>
          <a:endParaRPr lang="en-GB"/>
        </a:p>
      </dgm:t>
    </dgm:pt>
    <dgm:pt modelId="{D99DBDFB-ED52-48F3-8D3E-271C50D2B79E}" type="pres">
      <dgm:prSet presAssocID="{2D341EAF-8E02-4FFB-8BC7-8E749BCA3386}" presName="hierRoot2" presStyleCnt="0">
        <dgm:presLayoutVars>
          <dgm:hierBranch val="init"/>
        </dgm:presLayoutVars>
      </dgm:prSet>
      <dgm:spPr/>
    </dgm:pt>
    <dgm:pt modelId="{9B763932-5A53-4A74-B004-D003C43E18EE}" type="pres">
      <dgm:prSet presAssocID="{2D341EAF-8E02-4FFB-8BC7-8E749BCA3386}" presName="rootComposite" presStyleCnt="0"/>
      <dgm:spPr/>
    </dgm:pt>
    <dgm:pt modelId="{889AFA51-C7BD-4939-911F-CB1271EB2AF8}" type="pres">
      <dgm:prSet presAssocID="{2D341EAF-8E02-4FFB-8BC7-8E749BCA3386}" presName="rootText" presStyleLbl="node3" presStyleIdx="16" presStyleCnt="27" custScaleX="489722" custScaleY="166169" custLinFactX="-12383" custLinFactNeighborX="-100000" custLinFactNeighborY="-39983">
        <dgm:presLayoutVars>
          <dgm:chPref val="3"/>
        </dgm:presLayoutVars>
      </dgm:prSet>
      <dgm:spPr>
        <a:prstGeom prst="rect">
          <a:avLst/>
        </a:prstGeom>
      </dgm:spPr>
      <dgm:t>
        <a:bodyPr/>
        <a:lstStyle/>
        <a:p>
          <a:endParaRPr lang="en-GB"/>
        </a:p>
      </dgm:t>
    </dgm:pt>
    <dgm:pt modelId="{A98729FF-77F6-46B8-967E-2555C25F663E}" type="pres">
      <dgm:prSet presAssocID="{2D341EAF-8E02-4FFB-8BC7-8E749BCA3386}" presName="rootConnector" presStyleLbl="node3" presStyleIdx="16" presStyleCnt="27"/>
      <dgm:spPr/>
      <dgm:t>
        <a:bodyPr/>
        <a:lstStyle/>
        <a:p>
          <a:endParaRPr lang="en-GB"/>
        </a:p>
      </dgm:t>
    </dgm:pt>
    <dgm:pt modelId="{F7EF3153-14EB-492F-AE95-D320C0C069FC}" type="pres">
      <dgm:prSet presAssocID="{2D341EAF-8E02-4FFB-8BC7-8E749BCA3386}" presName="hierChild4" presStyleCnt="0"/>
      <dgm:spPr/>
    </dgm:pt>
    <dgm:pt modelId="{A35E699F-E00D-4206-A588-89F62AAE38EC}" type="pres">
      <dgm:prSet presAssocID="{2D341EAF-8E02-4FFB-8BC7-8E749BCA3386}" presName="hierChild5" presStyleCnt="0"/>
      <dgm:spPr/>
    </dgm:pt>
    <dgm:pt modelId="{24EA762B-4AE4-49BB-ACA9-F208C93443F3}" type="pres">
      <dgm:prSet presAssocID="{23C38686-FC84-49F1-B747-F325F35C7D06}" presName="Name37" presStyleLbl="parChTrans1D3" presStyleIdx="17" presStyleCnt="27"/>
      <dgm:spPr>
        <a:custGeom>
          <a:avLst/>
          <a:gdLst/>
          <a:ahLst/>
          <a:cxnLst/>
          <a:rect l="0" t="0" r="0" b="0"/>
          <a:pathLst>
            <a:path>
              <a:moveTo>
                <a:pt x="258228" y="0"/>
              </a:moveTo>
              <a:lnTo>
                <a:pt x="0" y="1247851"/>
              </a:lnTo>
            </a:path>
          </a:pathLst>
        </a:custGeom>
      </dgm:spPr>
      <dgm:t>
        <a:bodyPr/>
        <a:lstStyle/>
        <a:p>
          <a:endParaRPr lang="en-GB"/>
        </a:p>
      </dgm:t>
    </dgm:pt>
    <dgm:pt modelId="{743E9B0D-08DF-427F-823F-CF3DE19E2DA6}" type="pres">
      <dgm:prSet presAssocID="{AEF99AFC-BCE6-483A-9DBF-D4311D315409}" presName="hierRoot2" presStyleCnt="0">
        <dgm:presLayoutVars>
          <dgm:hierBranch val="init"/>
        </dgm:presLayoutVars>
      </dgm:prSet>
      <dgm:spPr/>
    </dgm:pt>
    <dgm:pt modelId="{3099D2FC-CB3B-40A5-B474-CD9965330136}" type="pres">
      <dgm:prSet presAssocID="{AEF99AFC-BCE6-483A-9DBF-D4311D315409}" presName="rootComposite" presStyleCnt="0"/>
      <dgm:spPr/>
    </dgm:pt>
    <dgm:pt modelId="{5566157D-149C-460F-97F5-CE2E5214442B}" type="pres">
      <dgm:prSet presAssocID="{AEF99AFC-BCE6-483A-9DBF-D4311D315409}" presName="rootText" presStyleLbl="node3" presStyleIdx="17" presStyleCnt="27" custScaleX="489722" custScaleY="221559" custLinFactX="-14728" custLinFactNeighborX="-100000" custLinFactNeighborY="-26569">
        <dgm:presLayoutVars>
          <dgm:chPref val="3"/>
        </dgm:presLayoutVars>
      </dgm:prSet>
      <dgm:spPr>
        <a:prstGeom prst="rect">
          <a:avLst/>
        </a:prstGeom>
      </dgm:spPr>
      <dgm:t>
        <a:bodyPr/>
        <a:lstStyle/>
        <a:p>
          <a:endParaRPr lang="en-GB"/>
        </a:p>
      </dgm:t>
    </dgm:pt>
    <dgm:pt modelId="{1278BCC9-713A-42EA-B5C7-590514CE77EA}" type="pres">
      <dgm:prSet presAssocID="{AEF99AFC-BCE6-483A-9DBF-D4311D315409}" presName="rootConnector" presStyleLbl="node3" presStyleIdx="17" presStyleCnt="27"/>
      <dgm:spPr/>
      <dgm:t>
        <a:bodyPr/>
        <a:lstStyle/>
        <a:p>
          <a:endParaRPr lang="en-GB"/>
        </a:p>
      </dgm:t>
    </dgm:pt>
    <dgm:pt modelId="{A81B85AC-D1FE-4D14-88FC-5D972597779D}" type="pres">
      <dgm:prSet presAssocID="{AEF99AFC-BCE6-483A-9DBF-D4311D315409}" presName="hierChild4" presStyleCnt="0"/>
      <dgm:spPr/>
    </dgm:pt>
    <dgm:pt modelId="{316C3BD7-4B8D-418B-8A23-CB0C7576EEFB}" type="pres">
      <dgm:prSet presAssocID="{AEF99AFC-BCE6-483A-9DBF-D4311D315409}" presName="hierChild5" presStyleCnt="0"/>
      <dgm:spPr/>
    </dgm:pt>
    <dgm:pt modelId="{5EE41A7C-9A60-4601-9E7F-353EBE225BC6}" type="pres">
      <dgm:prSet presAssocID="{50B3E178-BFC2-4416-AC2A-F7733BD7FD55}" presName="Name37" presStyleLbl="parChTrans1D3" presStyleIdx="18" presStyleCnt="27"/>
      <dgm:spPr>
        <a:custGeom>
          <a:avLst/>
          <a:gdLst/>
          <a:ahLst/>
          <a:cxnLst/>
          <a:rect l="0" t="0" r="0" b="0"/>
          <a:pathLst>
            <a:path>
              <a:moveTo>
                <a:pt x="198796" y="0"/>
              </a:moveTo>
              <a:lnTo>
                <a:pt x="0" y="2493971"/>
              </a:lnTo>
            </a:path>
          </a:pathLst>
        </a:custGeom>
      </dgm:spPr>
      <dgm:t>
        <a:bodyPr/>
        <a:lstStyle/>
        <a:p>
          <a:endParaRPr lang="en-GB"/>
        </a:p>
      </dgm:t>
    </dgm:pt>
    <dgm:pt modelId="{3808C761-5149-4948-9D45-53A8311C1558}" type="pres">
      <dgm:prSet presAssocID="{07A97D4C-A6EA-472B-B9F4-9A14FB6975E8}" presName="hierRoot2" presStyleCnt="0">
        <dgm:presLayoutVars>
          <dgm:hierBranch val="init"/>
        </dgm:presLayoutVars>
      </dgm:prSet>
      <dgm:spPr/>
    </dgm:pt>
    <dgm:pt modelId="{FEAB8C43-AD8A-416B-AFC7-40621C30E60F}" type="pres">
      <dgm:prSet presAssocID="{07A97D4C-A6EA-472B-B9F4-9A14FB6975E8}" presName="rootComposite" presStyleCnt="0"/>
      <dgm:spPr/>
    </dgm:pt>
    <dgm:pt modelId="{84973679-6F82-4ED4-A935-CA4A0FD0F148}" type="pres">
      <dgm:prSet presAssocID="{07A97D4C-A6EA-472B-B9F4-9A14FB6975E8}" presName="rootText" presStyleLbl="node3" presStyleIdx="18" presStyleCnt="27" custScaleX="489722" custScaleY="371158" custLinFactX="-5994" custLinFactNeighborX="-100000" custLinFactNeighborY="1329">
        <dgm:presLayoutVars>
          <dgm:chPref val="3"/>
        </dgm:presLayoutVars>
      </dgm:prSet>
      <dgm:spPr>
        <a:prstGeom prst="rect">
          <a:avLst/>
        </a:prstGeom>
      </dgm:spPr>
      <dgm:t>
        <a:bodyPr/>
        <a:lstStyle/>
        <a:p>
          <a:endParaRPr lang="en-GB"/>
        </a:p>
      </dgm:t>
    </dgm:pt>
    <dgm:pt modelId="{40F4D01A-1074-4751-950A-F4647C147244}" type="pres">
      <dgm:prSet presAssocID="{07A97D4C-A6EA-472B-B9F4-9A14FB6975E8}" presName="rootConnector" presStyleLbl="node3" presStyleIdx="18" presStyleCnt="27"/>
      <dgm:spPr/>
      <dgm:t>
        <a:bodyPr/>
        <a:lstStyle/>
        <a:p>
          <a:endParaRPr lang="en-GB"/>
        </a:p>
      </dgm:t>
    </dgm:pt>
    <dgm:pt modelId="{27DF98D2-62E1-417C-82E4-D2FE02A4F5FE}" type="pres">
      <dgm:prSet presAssocID="{07A97D4C-A6EA-472B-B9F4-9A14FB6975E8}" presName="hierChild4" presStyleCnt="0"/>
      <dgm:spPr/>
    </dgm:pt>
    <dgm:pt modelId="{89A855E3-C00B-499B-87FC-C1CB1ECF0F4E}" type="pres">
      <dgm:prSet presAssocID="{07A97D4C-A6EA-472B-B9F4-9A14FB6975E8}" presName="hierChild5" presStyleCnt="0"/>
      <dgm:spPr/>
    </dgm:pt>
    <dgm:pt modelId="{FC2A0575-63FD-4437-9846-05FE755CCA4D}" type="pres">
      <dgm:prSet presAssocID="{BB821B91-6134-47D8-8488-D39B8F6FB9F5}" presName="Name37" presStyleLbl="parChTrans1D3" presStyleIdx="19" presStyleCnt="27"/>
      <dgm:spPr>
        <a:custGeom>
          <a:avLst/>
          <a:gdLst/>
          <a:ahLst/>
          <a:cxnLst/>
          <a:rect l="0" t="0" r="0" b="0"/>
          <a:pathLst>
            <a:path>
              <a:moveTo>
                <a:pt x="182840" y="0"/>
              </a:moveTo>
              <a:lnTo>
                <a:pt x="0" y="3716966"/>
              </a:lnTo>
            </a:path>
          </a:pathLst>
        </a:custGeom>
      </dgm:spPr>
      <dgm:t>
        <a:bodyPr/>
        <a:lstStyle/>
        <a:p>
          <a:endParaRPr lang="en-GB"/>
        </a:p>
      </dgm:t>
    </dgm:pt>
    <dgm:pt modelId="{988B3699-602D-4992-9E3E-924521844B38}" type="pres">
      <dgm:prSet presAssocID="{32925A20-E0E2-491B-BCB4-1CACA4A7DB4F}" presName="hierRoot2" presStyleCnt="0">
        <dgm:presLayoutVars>
          <dgm:hierBranch val="init"/>
        </dgm:presLayoutVars>
      </dgm:prSet>
      <dgm:spPr/>
    </dgm:pt>
    <dgm:pt modelId="{8F8D8B90-26CA-4EA2-A128-D53D16BD5520}" type="pres">
      <dgm:prSet presAssocID="{32925A20-E0E2-491B-BCB4-1CACA4A7DB4F}" presName="rootComposite" presStyleCnt="0"/>
      <dgm:spPr/>
    </dgm:pt>
    <dgm:pt modelId="{9185C20B-3F53-4B76-A66A-573CD6C3DBE0}" type="pres">
      <dgm:prSet presAssocID="{32925A20-E0E2-491B-BCB4-1CACA4A7DB4F}" presName="rootText" presStyleLbl="node3" presStyleIdx="19" presStyleCnt="27" custScaleX="489722" custScaleY="221559" custLinFactX="-3649" custLinFactNeighborX="-100000" custLinFactNeighborY="22430">
        <dgm:presLayoutVars>
          <dgm:chPref val="3"/>
        </dgm:presLayoutVars>
      </dgm:prSet>
      <dgm:spPr>
        <a:prstGeom prst="rect">
          <a:avLst/>
        </a:prstGeom>
      </dgm:spPr>
      <dgm:t>
        <a:bodyPr/>
        <a:lstStyle/>
        <a:p>
          <a:endParaRPr lang="en-GB"/>
        </a:p>
      </dgm:t>
    </dgm:pt>
    <dgm:pt modelId="{F7DFF23A-F7C5-477C-B4A9-B17D28FAD8AD}" type="pres">
      <dgm:prSet presAssocID="{32925A20-E0E2-491B-BCB4-1CACA4A7DB4F}" presName="rootConnector" presStyleLbl="node3" presStyleIdx="19" presStyleCnt="27"/>
      <dgm:spPr/>
      <dgm:t>
        <a:bodyPr/>
        <a:lstStyle/>
        <a:p>
          <a:endParaRPr lang="en-GB"/>
        </a:p>
      </dgm:t>
    </dgm:pt>
    <dgm:pt modelId="{7527F933-E877-4C7E-A425-6522C0EA79DC}" type="pres">
      <dgm:prSet presAssocID="{32925A20-E0E2-491B-BCB4-1CACA4A7DB4F}" presName="hierChild4" presStyleCnt="0"/>
      <dgm:spPr/>
    </dgm:pt>
    <dgm:pt modelId="{47E34A57-57F2-49DC-852B-7FFD59F11D0A}" type="pres">
      <dgm:prSet presAssocID="{32925A20-E0E2-491B-BCB4-1CACA4A7DB4F}" presName="hierChild5" presStyleCnt="0"/>
      <dgm:spPr/>
    </dgm:pt>
    <dgm:pt modelId="{93C87654-F184-4CA5-85BD-B0DA8E3B6D6E}" type="pres">
      <dgm:prSet presAssocID="{4A2B5A49-02C5-4CAF-B182-FD73BC39F0B6}" presName="hierChild5" presStyleCnt="0"/>
      <dgm:spPr/>
    </dgm:pt>
    <dgm:pt modelId="{52E9BC89-FDF8-438D-A60C-DC48E0884547}" type="pres">
      <dgm:prSet presAssocID="{D3AB7F58-C8BD-4F52-BA48-1335ECA51BF3}" presName="Name37" presStyleLbl="parChTrans1D2" presStyleIdx="3" presStyleCnt="4"/>
      <dgm:spPr>
        <a:custGeom>
          <a:avLst/>
          <a:gdLst/>
          <a:ahLst/>
          <a:cxnLst/>
          <a:rect l="0" t="0" r="0" b="0"/>
          <a:pathLst>
            <a:path>
              <a:moveTo>
                <a:pt x="0" y="0"/>
              </a:moveTo>
              <a:lnTo>
                <a:pt x="0" y="59506"/>
              </a:lnTo>
              <a:lnTo>
                <a:pt x="4383927" y="59506"/>
              </a:lnTo>
              <a:lnTo>
                <a:pt x="4383927" y="130955"/>
              </a:lnTo>
            </a:path>
          </a:pathLst>
        </a:custGeom>
      </dgm:spPr>
      <dgm:t>
        <a:bodyPr/>
        <a:lstStyle/>
        <a:p>
          <a:endParaRPr lang="en-GB"/>
        </a:p>
      </dgm:t>
    </dgm:pt>
    <dgm:pt modelId="{FF68940A-B349-444C-AA28-D3E810C7133D}" type="pres">
      <dgm:prSet presAssocID="{17012AFC-D3C1-4556-BCA0-69E7EF7D426B}" presName="hierRoot2" presStyleCnt="0">
        <dgm:presLayoutVars>
          <dgm:hierBranch val="init"/>
        </dgm:presLayoutVars>
      </dgm:prSet>
      <dgm:spPr/>
    </dgm:pt>
    <dgm:pt modelId="{6574B68E-08D6-4445-A396-E3011C6F1F1E}" type="pres">
      <dgm:prSet presAssocID="{17012AFC-D3C1-4556-BCA0-69E7EF7D426B}" presName="rootComposite" presStyleCnt="0"/>
      <dgm:spPr/>
    </dgm:pt>
    <dgm:pt modelId="{2034BB97-76EC-478B-8B14-7267569BC1AA}" type="pres">
      <dgm:prSet presAssocID="{17012AFC-D3C1-4556-BCA0-69E7EF7D426B}" presName="rootText" presStyleLbl="node2" presStyleIdx="3" presStyleCnt="4" custScaleX="489722" custScaleY="161051" custLinFactNeighborX="6626" custLinFactNeighborY="-25398">
        <dgm:presLayoutVars>
          <dgm:chPref val="3"/>
        </dgm:presLayoutVars>
      </dgm:prSet>
      <dgm:spPr>
        <a:prstGeom prst="rect">
          <a:avLst/>
        </a:prstGeom>
      </dgm:spPr>
      <dgm:t>
        <a:bodyPr/>
        <a:lstStyle/>
        <a:p>
          <a:endParaRPr lang="en-GB"/>
        </a:p>
      </dgm:t>
    </dgm:pt>
    <dgm:pt modelId="{8A30A787-B8DD-468A-B6C4-47C9516B39E9}" type="pres">
      <dgm:prSet presAssocID="{17012AFC-D3C1-4556-BCA0-69E7EF7D426B}" presName="rootConnector" presStyleLbl="node2" presStyleIdx="3" presStyleCnt="4"/>
      <dgm:spPr/>
      <dgm:t>
        <a:bodyPr/>
        <a:lstStyle/>
        <a:p>
          <a:endParaRPr lang="en-GB"/>
        </a:p>
      </dgm:t>
    </dgm:pt>
    <dgm:pt modelId="{41BF1B5E-8FD9-49C9-A221-D6ACE8B91BB2}" type="pres">
      <dgm:prSet presAssocID="{17012AFC-D3C1-4556-BCA0-69E7EF7D426B}" presName="hierChild4" presStyleCnt="0"/>
      <dgm:spPr/>
    </dgm:pt>
    <dgm:pt modelId="{0964CB70-41C0-4F29-B83E-AE1B76280125}" type="pres">
      <dgm:prSet presAssocID="{5E41AA33-18C8-4417-B53F-484A14595051}" presName="Name37" presStyleLbl="parChTrans1D3" presStyleIdx="20" presStyleCnt="27"/>
      <dgm:spPr>
        <a:custGeom>
          <a:avLst/>
          <a:gdLst/>
          <a:ahLst/>
          <a:cxnLst/>
          <a:rect l="0" t="0" r="0" b="0"/>
          <a:pathLst>
            <a:path>
              <a:moveTo>
                <a:pt x="165814" y="0"/>
              </a:moveTo>
              <a:lnTo>
                <a:pt x="0" y="421235"/>
              </a:lnTo>
            </a:path>
          </a:pathLst>
        </a:custGeom>
      </dgm:spPr>
      <dgm:t>
        <a:bodyPr/>
        <a:lstStyle/>
        <a:p>
          <a:endParaRPr lang="en-GB"/>
        </a:p>
      </dgm:t>
    </dgm:pt>
    <dgm:pt modelId="{263DF04E-9489-43B9-9919-6D4BBFA8FEFA}" type="pres">
      <dgm:prSet presAssocID="{4F00BF85-AC72-481D-BE7B-D4C9F900999E}" presName="hierRoot2" presStyleCnt="0">
        <dgm:presLayoutVars>
          <dgm:hierBranch val="init"/>
        </dgm:presLayoutVars>
      </dgm:prSet>
      <dgm:spPr/>
    </dgm:pt>
    <dgm:pt modelId="{E3F323DD-D680-49A4-969C-D5BAF821034F}" type="pres">
      <dgm:prSet presAssocID="{4F00BF85-AC72-481D-BE7B-D4C9F900999E}" presName="rootComposite" presStyleCnt="0"/>
      <dgm:spPr/>
    </dgm:pt>
    <dgm:pt modelId="{6525961F-8FBD-4859-8DE6-CC029265436B}" type="pres">
      <dgm:prSet presAssocID="{4F00BF85-AC72-481D-BE7B-D4C9F900999E}" presName="rootText" presStyleLbl="node3" presStyleIdx="20" presStyleCnt="27" custScaleX="397900" custScaleY="221559" custLinFactNeighborX="-78355" custLinFactNeighborY="-57863">
        <dgm:presLayoutVars>
          <dgm:chPref val="3"/>
        </dgm:presLayoutVars>
      </dgm:prSet>
      <dgm:spPr>
        <a:prstGeom prst="rect">
          <a:avLst/>
        </a:prstGeom>
      </dgm:spPr>
      <dgm:t>
        <a:bodyPr/>
        <a:lstStyle/>
        <a:p>
          <a:endParaRPr lang="en-GB"/>
        </a:p>
      </dgm:t>
    </dgm:pt>
    <dgm:pt modelId="{74A4E3A4-EC91-46B0-B939-76D9B05E6BDA}" type="pres">
      <dgm:prSet presAssocID="{4F00BF85-AC72-481D-BE7B-D4C9F900999E}" presName="rootConnector" presStyleLbl="node3" presStyleIdx="20" presStyleCnt="27"/>
      <dgm:spPr/>
      <dgm:t>
        <a:bodyPr/>
        <a:lstStyle/>
        <a:p>
          <a:endParaRPr lang="en-GB"/>
        </a:p>
      </dgm:t>
    </dgm:pt>
    <dgm:pt modelId="{C3D653DD-ECF6-4E60-B355-4686266D6C59}" type="pres">
      <dgm:prSet presAssocID="{4F00BF85-AC72-481D-BE7B-D4C9F900999E}" presName="hierChild4" presStyleCnt="0"/>
      <dgm:spPr/>
    </dgm:pt>
    <dgm:pt modelId="{8FB834D5-02D4-4988-BD91-B25BA84DF879}" type="pres">
      <dgm:prSet presAssocID="{4F00BF85-AC72-481D-BE7B-D4C9F900999E}" presName="hierChild5" presStyleCnt="0"/>
      <dgm:spPr/>
    </dgm:pt>
    <dgm:pt modelId="{3B1825C6-1AEF-462F-A1CD-79B8796D71BF}" type="pres">
      <dgm:prSet presAssocID="{2E1B0A68-5385-427D-BCDA-B3B9911E240A}" presName="Name37" presStyleLbl="parChTrans1D3" presStyleIdx="21" presStyleCnt="27"/>
      <dgm:spPr>
        <a:custGeom>
          <a:avLst/>
          <a:gdLst/>
          <a:ahLst/>
          <a:cxnLst/>
          <a:rect l="0" t="0" r="0" b="0"/>
          <a:pathLst>
            <a:path>
              <a:moveTo>
                <a:pt x="164113" y="0"/>
              </a:moveTo>
              <a:lnTo>
                <a:pt x="0" y="1262083"/>
              </a:lnTo>
            </a:path>
          </a:pathLst>
        </a:custGeom>
      </dgm:spPr>
      <dgm:t>
        <a:bodyPr/>
        <a:lstStyle/>
        <a:p>
          <a:endParaRPr lang="en-GB"/>
        </a:p>
      </dgm:t>
    </dgm:pt>
    <dgm:pt modelId="{1F8D0472-FD32-4DED-B15C-7E970B2412C0}" type="pres">
      <dgm:prSet presAssocID="{8B3B7F3F-9569-4813-B483-35B81A80F496}" presName="hierRoot2" presStyleCnt="0">
        <dgm:presLayoutVars>
          <dgm:hierBranch val="init"/>
        </dgm:presLayoutVars>
      </dgm:prSet>
      <dgm:spPr/>
    </dgm:pt>
    <dgm:pt modelId="{9DEDC8FA-ED3E-48E4-AB8D-137BF79A65A7}" type="pres">
      <dgm:prSet presAssocID="{8B3B7F3F-9569-4813-B483-35B81A80F496}" presName="rootComposite" presStyleCnt="0"/>
      <dgm:spPr/>
    </dgm:pt>
    <dgm:pt modelId="{78EE5F20-2D72-4F04-BE3F-8283CA4EB390}" type="pres">
      <dgm:prSet presAssocID="{8B3B7F3F-9569-4813-B483-35B81A80F496}" presName="rootText" presStyleLbl="node3" presStyleIdx="21" presStyleCnt="27" custScaleX="397900" custScaleY="221559" custLinFactNeighborX="-78105" custLinFactNeighborY="-74282">
        <dgm:presLayoutVars>
          <dgm:chPref val="3"/>
        </dgm:presLayoutVars>
      </dgm:prSet>
      <dgm:spPr>
        <a:prstGeom prst="rect">
          <a:avLst/>
        </a:prstGeom>
      </dgm:spPr>
      <dgm:t>
        <a:bodyPr/>
        <a:lstStyle/>
        <a:p>
          <a:endParaRPr lang="en-GB"/>
        </a:p>
      </dgm:t>
    </dgm:pt>
    <dgm:pt modelId="{AF9B3472-43A8-400D-9CD2-962F2F9B4648}" type="pres">
      <dgm:prSet presAssocID="{8B3B7F3F-9569-4813-B483-35B81A80F496}" presName="rootConnector" presStyleLbl="node3" presStyleIdx="21" presStyleCnt="27"/>
      <dgm:spPr/>
      <dgm:t>
        <a:bodyPr/>
        <a:lstStyle/>
        <a:p>
          <a:endParaRPr lang="en-GB"/>
        </a:p>
      </dgm:t>
    </dgm:pt>
    <dgm:pt modelId="{94FAFAF2-B215-4FD2-AE42-95E99BABD887}" type="pres">
      <dgm:prSet presAssocID="{8B3B7F3F-9569-4813-B483-35B81A80F496}" presName="hierChild4" presStyleCnt="0"/>
      <dgm:spPr/>
    </dgm:pt>
    <dgm:pt modelId="{71E9BBD6-E89A-40A3-8262-42160D86FB87}" type="pres">
      <dgm:prSet presAssocID="{8B3B7F3F-9569-4813-B483-35B81A80F496}" presName="hierChild5" presStyleCnt="0"/>
      <dgm:spPr/>
    </dgm:pt>
    <dgm:pt modelId="{4C665A08-AC56-45D8-8D87-B1C7BBA58F7E}" type="pres">
      <dgm:prSet presAssocID="{36E96AA5-58BD-4463-8AC7-C7605675329D}" presName="Name37" presStyleLbl="parChTrans1D3" presStyleIdx="22" presStyleCnt="27"/>
      <dgm:spPr>
        <a:custGeom>
          <a:avLst/>
          <a:gdLst/>
          <a:ahLst/>
          <a:cxnLst/>
          <a:rect l="0" t="0" r="0" b="0"/>
          <a:pathLst>
            <a:path>
              <a:moveTo>
                <a:pt x="161963" y="0"/>
              </a:moveTo>
              <a:lnTo>
                <a:pt x="0" y="2235261"/>
              </a:lnTo>
            </a:path>
          </a:pathLst>
        </a:custGeom>
      </dgm:spPr>
      <dgm:t>
        <a:bodyPr/>
        <a:lstStyle/>
        <a:p>
          <a:endParaRPr lang="en-GB"/>
        </a:p>
      </dgm:t>
    </dgm:pt>
    <dgm:pt modelId="{82262C01-9B44-43CF-8FB1-7BB5BEE6F4FA}" type="pres">
      <dgm:prSet presAssocID="{7040D635-CE3C-4D39-B00B-23C0DAD01902}" presName="hierRoot2" presStyleCnt="0">
        <dgm:presLayoutVars>
          <dgm:hierBranch val="init"/>
        </dgm:presLayoutVars>
      </dgm:prSet>
      <dgm:spPr/>
    </dgm:pt>
    <dgm:pt modelId="{C7A3390F-3E75-4B07-AF4B-15926CB03FCA}" type="pres">
      <dgm:prSet presAssocID="{7040D635-CE3C-4D39-B00B-23C0DAD01902}" presName="rootComposite" presStyleCnt="0"/>
      <dgm:spPr/>
    </dgm:pt>
    <dgm:pt modelId="{C2E3C8C2-963F-46A6-A733-D84654932C5D}" type="pres">
      <dgm:prSet presAssocID="{7040D635-CE3C-4D39-B00B-23C0DAD01902}" presName="rootText" presStyleLbl="node3" presStyleIdx="22" presStyleCnt="27" custScaleX="397900" custScaleY="289967" custLinFactNeighborX="-77789" custLinFactNeighborY="-86011">
        <dgm:presLayoutVars>
          <dgm:chPref val="3"/>
        </dgm:presLayoutVars>
      </dgm:prSet>
      <dgm:spPr>
        <a:prstGeom prst="rect">
          <a:avLst/>
        </a:prstGeom>
      </dgm:spPr>
      <dgm:t>
        <a:bodyPr/>
        <a:lstStyle/>
        <a:p>
          <a:endParaRPr lang="en-GB"/>
        </a:p>
      </dgm:t>
    </dgm:pt>
    <dgm:pt modelId="{77C70671-18DE-43E8-BF2F-71650C01E492}" type="pres">
      <dgm:prSet presAssocID="{7040D635-CE3C-4D39-B00B-23C0DAD01902}" presName="rootConnector" presStyleLbl="node3" presStyleIdx="22" presStyleCnt="27"/>
      <dgm:spPr/>
      <dgm:t>
        <a:bodyPr/>
        <a:lstStyle/>
        <a:p>
          <a:endParaRPr lang="en-GB"/>
        </a:p>
      </dgm:t>
    </dgm:pt>
    <dgm:pt modelId="{4CDCC8AD-A25D-4C3B-8942-D1A0FD71140E}" type="pres">
      <dgm:prSet presAssocID="{7040D635-CE3C-4D39-B00B-23C0DAD01902}" presName="hierChild4" presStyleCnt="0"/>
      <dgm:spPr/>
    </dgm:pt>
    <dgm:pt modelId="{88CAC4A9-BC6A-438D-BA4D-2EE944A0E38F}" type="pres">
      <dgm:prSet presAssocID="{7040D635-CE3C-4D39-B00B-23C0DAD01902}" presName="hierChild5" presStyleCnt="0"/>
      <dgm:spPr/>
    </dgm:pt>
    <dgm:pt modelId="{A60D6A16-F6F3-469C-998A-AD9746314B50}" type="pres">
      <dgm:prSet presAssocID="{97E78FE5-005F-480B-ADDD-02C500177BBA}" presName="Name37" presStyleLbl="parChTrans1D3" presStyleIdx="23" presStyleCnt="27"/>
      <dgm:spPr>
        <a:custGeom>
          <a:avLst/>
          <a:gdLst/>
          <a:ahLst/>
          <a:cxnLst/>
          <a:rect l="0" t="0" r="0" b="0"/>
          <a:pathLst>
            <a:path>
              <a:moveTo>
                <a:pt x="156281" y="0"/>
              </a:moveTo>
              <a:lnTo>
                <a:pt x="0" y="3191672"/>
              </a:lnTo>
            </a:path>
          </a:pathLst>
        </a:custGeom>
      </dgm:spPr>
      <dgm:t>
        <a:bodyPr/>
        <a:lstStyle/>
        <a:p>
          <a:endParaRPr lang="en-GB"/>
        </a:p>
      </dgm:t>
    </dgm:pt>
    <dgm:pt modelId="{4441AEDA-4626-4FDD-AEB8-482A7E8505F0}" type="pres">
      <dgm:prSet presAssocID="{E9A975ED-C728-4E64-B90E-4B505F6C90B9}" presName="hierRoot2" presStyleCnt="0">
        <dgm:presLayoutVars>
          <dgm:hierBranch val="init"/>
        </dgm:presLayoutVars>
      </dgm:prSet>
      <dgm:spPr/>
    </dgm:pt>
    <dgm:pt modelId="{90AF87E6-E15C-48DE-B534-41D432C2A4EB}" type="pres">
      <dgm:prSet presAssocID="{E9A975ED-C728-4E64-B90E-4B505F6C90B9}" presName="rootComposite" presStyleCnt="0"/>
      <dgm:spPr/>
    </dgm:pt>
    <dgm:pt modelId="{B12AF6D6-EC2F-4B2B-992C-8D08E7129CD6}" type="pres">
      <dgm:prSet presAssocID="{E9A975ED-C728-4E64-B90E-4B505F6C90B9}" presName="rootText" presStyleLbl="node3" presStyleIdx="23" presStyleCnt="27" custScaleX="397900" custScaleY="221559" custLinFactY="-2668" custLinFactNeighborX="-76954" custLinFactNeighborY="-100000">
        <dgm:presLayoutVars>
          <dgm:chPref val="3"/>
        </dgm:presLayoutVars>
      </dgm:prSet>
      <dgm:spPr>
        <a:prstGeom prst="rect">
          <a:avLst/>
        </a:prstGeom>
      </dgm:spPr>
      <dgm:t>
        <a:bodyPr/>
        <a:lstStyle/>
        <a:p>
          <a:endParaRPr lang="en-GB"/>
        </a:p>
      </dgm:t>
    </dgm:pt>
    <dgm:pt modelId="{35745B26-F070-41AC-9DB6-D2575B1469B0}" type="pres">
      <dgm:prSet presAssocID="{E9A975ED-C728-4E64-B90E-4B505F6C90B9}" presName="rootConnector" presStyleLbl="node3" presStyleIdx="23" presStyleCnt="27"/>
      <dgm:spPr/>
      <dgm:t>
        <a:bodyPr/>
        <a:lstStyle/>
        <a:p>
          <a:endParaRPr lang="en-GB"/>
        </a:p>
      </dgm:t>
    </dgm:pt>
    <dgm:pt modelId="{C2C426F3-897A-41DF-9FD6-5BE1C57312E0}" type="pres">
      <dgm:prSet presAssocID="{E9A975ED-C728-4E64-B90E-4B505F6C90B9}" presName="hierChild4" presStyleCnt="0"/>
      <dgm:spPr/>
    </dgm:pt>
    <dgm:pt modelId="{0BEBC681-498A-4F39-9A2E-C95C6088EB34}" type="pres">
      <dgm:prSet presAssocID="{E9A975ED-C728-4E64-B90E-4B505F6C90B9}" presName="hierChild5" presStyleCnt="0"/>
      <dgm:spPr/>
    </dgm:pt>
    <dgm:pt modelId="{33F05970-CE5A-4B8F-B2ED-821CE72425D7}" type="pres">
      <dgm:prSet presAssocID="{4C075103-1FAA-4D49-8304-A018805FFDE8}" presName="Name37" presStyleLbl="parChTrans1D3" presStyleIdx="24" presStyleCnt="27"/>
      <dgm:spPr>
        <a:custGeom>
          <a:avLst/>
          <a:gdLst/>
          <a:ahLst/>
          <a:cxnLst/>
          <a:rect l="0" t="0" r="0" b="0"/>
          <a:pathLst>
            <a:path>
              <a:moveTo>
                <a:pt x="165726" y="0"/>
              </a:moveTo>
              <a:lnTo>
                <a:pt x="0" y="3924786"/>
              </a:lnTo>
            </a:path>
          </a:pathLst>
        </a:custGeom>
      </dgm:spPr>
      <dgm:t>
        <a:bodyPr/>
        <a:lstStyle/>
        <a:p>
          <a:endParaRPr lang="en-GB"/>
        </a:p>
      </dgm:t>
    </dgm:pt>
    <dgm:pt modelId="{750B74F5-7E79-432C-B0C5-A04C45276A2A}" type="pres">
      <dgm:prSet presAssocID="{9002187A-E2EC-4717-831E-102A4221D70E}" presName="hierRoot2" presStyleCnt="0">
        <dgm:presLayoutVars>
          <dgm:hierBranch val="init"/>
        </dgm:presLayoutVars>
      </dgm:prSet>
      <dgm:spPr/>
    </dgm:pt>
    <dgm:pt modelId="{5794658F-6AE0-446D-9AB2-1BF0383CDC68}" type="pres">
      <dgm:prSet presAssocID="{9002187A-E2EC-4717-831E-102A4221D70E}" presName="rootComposite" presStyleCnt="0"/>
      <dgm:spPr/>
    </dgm:pt>
    <dgm:pt modelId="{66F06CE1-3BB0-4A85-8D70-A149B82E3BB3}" type="pres">
      <dgm:prSet presAssocID="{9002187A-E2EC-4717-831E-102A4221D70E}" presName="rootText" presStyleLbl="node3" presStyleIdx="24" presStyleCnt="27" custScaleX="397900" custScaleY="166169" custLinFactY="-23057" custLinFactNeighborX="-78342" custLinFactNeighborY="-100000">
        <dgm:presLayoutVars>
          <dgm:chPref val="3"/>
        </dgm:presLayoutVars>
      </dgm:prSet>
      <dgm:spPr>
        <a:prstGeom prst="rect">
          <a:avLst/>
        </a:prstGeom>
      </dgm:spPr>
      <dgm:t>
        <a:bodyPr/>
        <a:lstStyle/>
        <a:p>
          <a:endParaRPr lang="en-GB"/>
        </a:p>
      </dgm:t>
    </dgm:pt>
    <dgm:pt modelId="{AC80687D-CE89-4BFB-A0CD-895A4C091F36}" type="pres">
      <dgm:prSet presAssocID="{9002187A-E2EC-4717-831E-102A4221D70E}" presName="rootConnector" presStyleLbl="node3" presStyleIdx="24" presStyleCnt="27"/>
      <dgm:spPr/>
      <dgm:t>
        <a:bodyPr/>
        <a:lstStyle/>
        <a:p>
          <a:endParaRPr lang="en-GB"/>
        </a:p>
      </dgm:t>
    </dgm:pt>
    <dgm:pt modelId="{C1C6460D-BBC0-4C5A-948B-BA1CAF8F431F}" type="pres">
      <dgm:prSet presAssocID="{9002187A-E2EC-4717-831E-102A4221D70E}" presName="hierChild4" presStyleCnt="0"/>
      <dgm:spPr/>
    </dgm:pt>
    <dgm:pt modelId="{2A7DEF8A-AA33-467C-ACC5-25E463A8AC02}" type="pres">
      <dgm:prSet presAssocID="{9002187A-E2EC-4717-831E-102A4221D70E}" presName="hierChild5" presStyleCnt="0"/>
      <dgm:spPr/>
    </dgm:pt>
    <dgm:pt modelId="{EE5F5FC3-2FC6-4461-ABAA-F66D65415C6E}" type="pres">
      <dgm:prSet presAssocID="{BFBB2B3E-EE3E-4352-9F16-33C8D905B52C}" presName="Name37" presStyleLbl="parChTrans1D3" presStyleIdx="25" presStyleCnt="27"/>
      <dgm:spPr>
        <a:custGeom>
          <a:avLst/>
          <a:gdLst/>
          <a:ahLst/>
          <a:cxnLst/>
          <a:rect l="0" t="0" r="0" b="0"/>
          <a:pathLst>
            <a:path>
              <a:moveTo>
                <a:pt x="177124" y="0"/>
              </a:moveTo>
              <a:lnTo>
                <a:pt x="0" y="4415340"/>
              </a:lnTo>
            </a:path>
          </a:pathLst>
        </a:custGeom>
      </dgm:spPr>
      <dgm:t>
        <a:bodyPr/>
        <a:lstStyle/>
        <a:p>
          <a:endParaRPr lang="en-GB"/>
        </a:p>
      </dgm:t>
    </dgm:pt>
    <dgm:pt modelId="{B8B24061-FF3D-4B2F-9205-9859AA45EE72}" type="pres">
      <dgm:prSet presAssocID="{795D8047-9602-4F28-A46F-427EBC32A9A5}" presName="hierRoot2" presStyleCnt="0">
        <dgm:presLayoutVars>
          <dgm:hierBranch val="init"/>
        </dgm:presLayoutVars>
      </dgm:prSet>
      <dgm:spPr/>
    </dgm:pt>
    <dgm:pt modelId="{429910CB-8F46-4C1D-B088-A8348BDCFA4E}" type="pres">
      <dgm:prSet presAssocID="{795D8047-9602-4F28-A46F-427EBC32A9A5}" presName="rootComposite" presStyleCnt="0"/>
      <dgm:spPr/>
    </dgm:pt>
    <dgm:pt modelId="{FDBEDC48-7610-4008-971F-97F33921F3AB}" type="pres">
      <dgm:prSet presAssocID="{795D8047-9602-4F28-A46F-427EBC32A9A5}" presName="rootText" presStyleLbl="node3" presStyleIdx="25" presStyleCnt="27" custScaleX="397900" custLinFactY="-53959" custLinFactNeighborX="-80017" custLinFactNeighborY="-100000">
        <dgm:presLayoutVars>
          <dgm:chPref val="3"/>
        </dgm:presLayoutVars>
      </dgm:prSet>
      <dgm:spPr>
        <a:prstGeom prst="rect">
          <a:avLst/>
        </a:prstGeom>
      </dgm:spPr>
      <dgm:t>
        <a:bodyPr/>
        <a:lstStyle/>
        <a:p>
          <a:endParaRPr lang="en-GB"/>
        </a:p>
      </dgm:t>
    </dgm:pt>
    <dgm:pt modelId="{8FA4DC7A-1F32-4EBD-B2D2-2B337761960E}" type="pres">
      <dgm:prSet presAssocID="{795D8047-9602-4F28-A46F-427EBC32A9A5}" presName="rootConnector" presStyleLbl="node3" presStyleIdx="25" presStyleCnt="27"/>
      <dgm:spPr/>
      <dgm:t>
        <a:bodyPr/>
        <a:lstStyle/>
        <a:p>
          <a:endParaRPr lang="en-GB"/>
        </a:p>
      </dgm:t>
    </dgm:pt>
    <dgm:pt modelId="{096C45DE-ADFA-4070-A08E-77D21DA69EC9}" type="pres">
      <dgm:prSet presAssocID="{795D8047-9602-4F28-A46F-427EBC32A9A5}" presName="hierChild4" presStyleCnt="0"/>
      <dgm:spPr/>
    </dgm:pt>
    <dgm:pt modelId="{95EC7B72-4125-4746-BA92-652C046DBF7E}" type="pres">
      <dgm:prSet presAssocID="{795D8047-9602-4F28-A46F-427EBC32A9A5}" presName="hierChild5" presStyleCnt="0"/>
      <dgm:spPr/>
    </dgm:pt>
    <dgm:pt modelId="{47EA5480-D883-4F10-85FC-3C1C11868AAB}" type="pres">
      <dgm:prSet presAssocID="{3E8566DB-3FD9-4E15-964E-6C880A5BB489}" presName="Name37" presStyleLbl="parChTrans1D3" presStyleIdx="26" presStyleCnt="27"/>
      <dgm:spPr>
        <a:custGeom>
          <a:avLst/>
          <a:gdLst/>
          <a:ahLst/>
          <a:cxnLst/>
          <a:rect l="0" t="0" r="0" b="0"/>
          <a:pathLst>
            <a:path>
              <a:moveTo>
                <a:pt x="193244" y="0"/>
              </a:moveTo>
              <a:lnTo>
                <a:pt x="0" y="4824200"/>
              </a:lnTo>
            </a:path>
          </a:pathLst>
        </a:custGeom>
      </dgm:spPr>
      <dgm:t>
        <a:bodyPr/>
        <a:lstStyle/>
        <a:p>
          <a:endParaRPr lang="en-GB"/>
        </a:p>
      </dgm:t>
    </dgm:pt>
    <dgm:pt modelId="{BCF512F6-6D36-4271-A50B-AD3B7CF7BA17}" type="pres">
      <dgm:prSet presAssocID="{7CE8175F-BCF0-4B92-A842-728EC78F57D8}" presName="hierRoot2" presStyleCnt="0">
        <dgm:presLayoutVars>
          <dgm:hierBranch val="init"/>
        </dgm:presLayoutVars>
      </dgm:prSet>
      <dgm:spPr/>
    </dgm:pt>
    <dgm:pt modelId="{D2ED8F56-4F8E-4086-8442-C1584854E740}" type="pres">
      <dgm:prSet presAssocID="{7CE8175F-BCF0-4B92-A842-728EC78F57D8}" presName="rootComposite" presStyleCnt="0"/>
      <dgm:spPr/>
    </dgm:pt>
    <dgm:pt modelId="{D80FB876-3642-4FE6-B768-C498CB2DC45B}" type="pres">
      <dgm:prSet presAssocID="{7CE8175F-BCF0-4B92-A842-728EC78F57D8}" presName="rootText" presStyleLbl="node3" presStyleIdx="26" presStyleCnt="27" custScaleX="397900" custLinFactY="-75788" custLinFactNeighborX="-82386" custLinFactNeighborY="-100000">
        <dgm:presLayoutVars>
          <dgm:chPref val="3"/>
        </dgm:presLayoutVars>
      </dgm:prSet>
      <dgm:spPr>
        <a:prstGeom prst="rect">
          <a:avLst/>
        </a:prstGeom>
      </dgm:spPr>
      <dgm:t>
        <a:bodyPr/>
        <a:lstStyle/>
        <a:p>
          <a:endParaRPr lang="en-GB"/>
        </a:p>
      </dgm:t>
    </dgm:pt>
    <dgm:pt modelId="{342F66C1-B350-4FB9-B560-508F7697197D}" type="pres">
      <dgm:prSet presAssocID="{7CE8175F-BCF0-4B92-A842-728EC78F57D8}" presName="rootConnector" presStyleLbl="node3" presStyleIdx="26" presStyleCnt="27"/>
      <dgm:spPr/>
      <dgm:t>
        <a:bodyPr/>
        <a:lstStyle/>
        <a:p>
          <a:endParaRPr lang="en-GB"/>
        </a:p>
      </dgm:t>
    </dgm:pt>
    <dgm:pt modelId="{C4DE29B9-0056-473F-8C63-771358C8FCEC}" type="pres">
      <dgm:prSet presAssocID="{7CE8175F-BCF0-4B92-A842-728EC78F57D8}" presName="hierChild4" presStyleCnt="0"/>
      <dgm:spPr/>
    </dgm:pt>
    <dgm:pt modelId="{0774DFF6-DBE3-4AF0-BB54-65B3ED36A342}" type="pres">
      <dgm:prSet presAssocID="{7CE8175F-BCF0-4B92-A842-728EC78F57D8}" presName="hierChild5" presStyleCnt="0"/>
      <dgm:spPr/>
    </dgm:pt>
    <dgm:pt modelId="{C9882621-E649-49B7-B3B2-676FF7EF65A5}" type="pres">
      <dgm:prSet presAssocID="{17012AFC-D3C1-4556-BCA0-69E7EF7D426B}" presName="hierChild5" presStyleCnt="0"/>
      <dgm:spPr/>
    </dgm:pt>
    <dgm:pt modelId="{ABD12F8A-A439-4063-AA10-A83967468CAB}" type="pres">
      <dgm:prSet presAssocID="{D9A67AE4-4575-43B7-A6F3-0BD58EA221F0}" presName="hierChild3" presStyleCnt="0"/>
      <dgm:spPr/>
    </dgm:pt>
  </dgm:ptLst>
  <dgm:cxnLst>
    <dgm:cxn modelId="{A6234364-54F4-4A42-9599-4DF60D88A8F9}" type="presOf" srcId="{E59C7045-2EF3-4659-8457-FC2DC2C82928}" destId="{61B4AA93-0842-4D55-B889-C5D4706F273C}" srcOrd="0" destOrd="0" presId="urn:microsoft.com/office/officeart/2005/8/layout/orgChart1"/>
    <dgm:cxn modelId="{A8237B0C-1E60-47E8-B5E3-A0904B225F91}" type="presOf" srcId="{795D8047-9602-4F28-A46F-427EBC32A9A5}" destId="{8FA4DC7A-1F32-4EBD-B2D2-2B337761960E}" srcOrd="1" destOrd="0" presId="urn:microsoft.com/office/officeart/2005/8/layout/orgChart1"/>
    <dgm:cxn modelId="{A4290328-0701-4E57-A9AA-AB7464D6DF59}" type="presOf" srcId="{7520F216-6A93-4900-B03B-1CAE7FDB300B}" destId="{9D907A16-BA97-49F7-A8E0-04EB9E2BF3A6}" srcOrd="1" destOrd="0" presId="urn:microsoft.com/office/officeart/2005/8/layout/orgChart1"/>
    <dgm:cxn modelId="{A9CAD747-2396-4754-AAE7-63836D333706}" type="presOf" srcId="{17012AFC-D3C1-4556-BCA0-69E7EF7D426B}" destId="{8A30A787-B8DD-468A-B6C4-47C9516B39E9}" srcOrd="1" destOrd="0" presId="urn:microsoft.com/office/officeart/2005/8/layout/orgChart1"/>
    <dgm:cxn modelId="{39DF7289-28DD-4661-836E-8663FDF0AB62}" type="presOf" srcId="{5E41AA33-18C8-4417-B53F-484A14595051}" destId="{0964CB70-41C0-4F29-B83E-AE1B76280125}" srcOrd="0" destOrd="0" presId="urn:microsoft.com/office/officeart/2005/8/layout/orgChart1"/>
    <dgm:cxn modelId="{55CB6FB9-3418-46C8-9E4A-A006D5EC9074}" type="presOf" srcId="{E59C7045-2EF3-4659-8457-FC2DC2C82928}" destId="{E846EEA4-3606-4E73-993D-7A44D043C02F}" srcOrd="1" destOrd="0" presId="urn:microsoft.com/office/officeart/2005/8/layout/orgChart1"/>
    <dgm:cxn modelId="{430A0C80-84A4-4AC3-B812-A705F5895158}" type="presOf" srcId="{9EBBB895-7600-4C5C-AD2A-85DBB7813F37}" destId="{14794923-454C-4188-8CA2-A3764EA77813}" srcOrd="1" destOrd="0" presId="urn:microsoft.com/office/officeart/2005/8/layout/orgChart1"/>
    <dgm:cxn modelId="{D60E9150-B327-495B-88A2-B9EB4260E8A6}" type="presOf" srcId="{17012AFC-D3C1-4556-BCA0-69E7EF7D426B}" destId="{2034BB97-76EC-478B-8B14-7267569BC1AA}" srcOrd="0" destOrd="0" presId="urn:microsoft.com/office/officeart/2005/8/layout/orgChart1"/>
    <dgm:cxn modelId="{0DFC5457-C539-4339-BB3F-CF4545C5A9C3}" srcId="{AEA21CE9-A7A8-4EE0-8D08-C3300B5032C0}" destId="{D9A67AE4-4575-43B7-A6F3-0BD58EA221F0}" srcOrd="0" destOrd="0" parTransId="{39C1069B-DA89-4843-9365-C76A128E71C3}" sibTransId="{396C6420-8006-4594-B3E6-C40C0F01C177}"/>
    <dgm:cxn modelId="{87F18738-F3EE-4F20-8A2F-988E2707B71F}" srcId="{C210B5A7-FC8F-4CFB-888B-78A66105B5E3}" destId="{6FFB1031-0A73-4469-BCC7-5B3640D26945}" srcOrd="6" destOrd="0" parTransId="{53973304-1394-4263-9745-1D093A3A9643}" sibTransId="{2B6001BC-975C-47B4-A3DF-5D8858B4F017}"/>
    <dgm:cxn modelId="{2FE2DC54-EAF3-4DC0-9FE1-F4F7820CF2C4}" type="presOf" srcId="{23C38686-FC84-49F1-B747-F325F35C7D06}" destId="{24EA762B-4AE4-49BB-ACA9-F208C93443F3}" srcOrd="0" destOrd="0" presId="urn:microsoft.com/office/officeart/2005/8/layout/orgChart1"/>
    <dgm:cxn modelId="{1FA7E189-67F7-4787-9D1A-C5E4B2ED2822}" srcId="{17012AFC-D3C1-4556-BCA0-69E7EF7D426B}" destId="{795D8047-9602-4F28-A46F-427EBC32A9A5}" srcOrd="5" destOrd="0" parTransId="{BFBB2B3E-EE3E-4352-9F16-33C8D905B52C}" sibTransId="{B3E21C83-25C8-42D8-8632-98FE330468CD}"/>
    <dgm:cxn modelId="{5A549089-585C-4C45-95D9-A7EAD610C7E6}" type="presOf" srcId="{07A97D4C-A6EA-472B-B9F4-9A14FB6975E8}" destId="{40F4D01A-1074-4751-950A-F4647C147244}" srcOrd="1" destOrd="0" presId="urn:microsoft.com/office/officeart/2005/8/layout/orgChart1"/>
    <dgm:cxn modelId="{B82820CA-B569-4FCD-AF8B-13796FC33CD6}" srcId="{3FA8E52E-41A8-4B79-88F3-ABDEBF17CD17}" destId="{AC209003-8BA6-44DF-A8F6-9D2C5C73FF0B}" srcOrd="5" destOrd="0" parTransId="{E6B68188-F1B4-4DE3-B26E-C5597DBA8B4B}" sibTransId="{AC6B0107-A7F4-48CD-AA7A-25D3230F9343}"/>
    <dgm:cxn modelId="{65A54A46-C211-486A-8F91-966304C4F312}" type="presOf" srcId="{53973304-1394-4263-9745-1D093A3A9643}" destId="{EDD6B248-4CEB-4654-9033-ED2BD107A221}" srcOrd="0" destOrd="0" presId="urn:microsoft.com/office/officeart/2005/8/layout/orgChart1"/>
    <dgm:cxn modelId="{E77ACFED-CACE-4D1F-AB52-7536F25780F4}" type="presOf" srcId="{D6F17EA9-E082-43E6-9D65-85C43DB9E61E}" destId="{0415C0B4-BF22-4E0A-9719-027F6097DCDD}" srcOrd="1" destOrd="0" presId="urn:microsoft.com/office/officeart/2005/8/layout/orgChart1"/>
    <dgm:cxn modelId="{BFFEEBF8-4DA5-4DDC-AD61-1D238B867F7F}" type="presOf" srcId="{DE6CB324-04C8-4039-A4A1-2D784450FD41}" destId="{B831C22F-984D-4917-BB77-DA19C75E8EEC}" srcOrd="0" destOrd="0" presId="urn:microsoft.com/office/officeart/2005/8/layout/orgChart1"/>
    <dgm:cxn modelId="{F3C32E4C-5A51-4406-BA74-1A2339D8031A}" srcId="{C210B5A7-FC8F-4CFB-888B-78A66105B5E3}" destId="{AD9B6B29-76D5-426B-93B6-5BFE62AB229B}" srcOrd="5" destOrd="0" parTransId="{84939823-9C1A-4A52-8238-B36504B8A531}" sibTransId="{15659702-21A2-4FE5-A2E5-6D94C072E3B4}"/>
    <dgm:cxn modelId="{D4BF727A-7BFB-416D-971D-7039C7E0D6C3}" type="presOf" srcId="{68FB7B31-DBFA-4E20-A5A9-242EBD808708}" destId="{6B9BB72C-C16E-4812-A426-8736B0F4D50D}" srcOrd="0" destOrd="0" presId="urn:microsoft.com/office/officeart/2005/8/layout/orgChart1"/>
    <dgm:cxn modelId="{57CC50DD-1A81-4293-B6B0-1857B0F10408}" type="presOf" srcId="{9002187A-E2EC-4717-831E-102A4221D70E}" destId="{66F06CE1-3BB0-4A85-8D70-A149B82E3BB3}" srcOrd="0" destOrd="0" presId="urn:microsoft.com/office/officeart/2005/8/layout/orgChart1"/>
    <dgm:cxn modelId="{F755EA03-11F9-4598-AFD8-ED61B02C7CE1}" type="presOf" srcId="{4F00BF85-AC72-481D-BE7B-D4C9F900999E}" destId="{74A4E3A4-EC91-46B0-B939-76D9B05E6BDA}" srcOrd="1" destOrd="0" presId="urn:microsoft.com/office/officeart/2005/8/layout/orgChart1"/>
    <dgm:cxn modelId="{C7EBB6EA-4099-48D2-BF8F-58976EB01CEA}" type="presOf" srcId="{AEA21CE9-A7A8-4EE0-8D08-C3300B5032C0}" destId="{C80C8456-3BBA-45FD-AD23-3C06B4C3CF8C}" srcOrd="0" destOrd="0" presId="urn:microsoft.com/office/officeart/2005/8/layout/orgChart1"/>
    <dgm:cxn modelId="{8228E1D0-164B-4990-A38F-3586B2869BB2}" type="presOf" srcId="{6FFB1031-0A73-4469-BCC7-5B3640D26945}" destId="{50DD9E39-4F50-40C5-BD65-39D9CA175641}" srcOrd="1" destOrd="0" presId="urn:microsoft.com/office/officeart/2005/8/layout/orgChart1"/>
    <dgm:cxn modelId="{05AB5C04-B904-4871-9CAB-05AC2855AAFB}" type="presOf" srcId="{795D8047-9602-4F28-A46F-427EBC32A9A5}" destId="{FDBEDC48-7610-4008-971F-97F33921F3AB}" srcOrd="0" destOrd="0" presId="urn:microsoft.com/office/officeart/2005/8/layout/orgChart1"/>
    <dgm:cxn modelId="{3B303910-3052-459E-B6FA-FFDB1C24FC00}" type="presOf" srcId="{A67701C2-2154-49A9-AEE7-642B0F6E0EDA}" destId="{3C113E1E-FE54-4128-B244-37B8276C710C}" srcOrd="1" destOrd="0" presId="urn:microsoft.com/office/officeart/2005/8/layout/orgChart1"/>
    <dgm:cxn modelId="{2388FE50-775F-44DC-87D8-23C5861BC2FD}" type="presOf" srcId="{6FB800BF-C0D2-4431-90AD-DB6C6F916073}" destId="{748B4E46-BCEA-4B90-9F45-8240389CE2F0}" srcOrd="0" destOrd="0" presId="urn:microsoft.com/office/officeart/2005/8/layout/orgChart1"/>
    <dgm:cxn modelId="{A06E186D-784D-48CB-BE6B-882E72A4ACF8}" type="presOf" srcId="{7741473B-E186-4580-BC20-E482C22F84BC}" destId="{267C9922-0B84-4AEE-9817-7077676D94D7}" srcOrd="1" destOrd="0" presId="urn:microsoft.com/office/officeart/2005/8/layout/orgChart1"/>
    <dgm:cxn modelId="{563506B0-BEA0-42D0-8AD8-5485DB7B2191}" type="presOf" srcId="{7CE8175F-BCF0-4B92-A842-728EC78F57D8}" destId="{D80FB876-3642-4FE6-B768-C498CB2DC45B}" srcOrd="0" destOrd="0" presId="urn:microsoft.com/office/officeart/2005/8/layout/orgChart1"/>
    <dgm:cxn modelId="{B8842FFD-FC0D-428F-8EF8-57A13C39036D}" type="presOf" srcId="{DB7FB121-89FA-4FDA-BA06-6EB92D692684}" destId="{F613A01D-7200-4858-BD85-9D67C40E7C98}" srcOrd="1" destOrd="0" presId="urn:microsoft.com/office/officeart/2005/8/layout/orgChart1"/>
    <dgm:cxn modelId="{50B9BF52-DC7F-4486-A63D-688D43797D59}" srcId="{17012AFC-D3C1-4556-BCA0-69E7EF7D426B}" destId="{7040D635-CE3C-4D39-B00B-23C0DAD01902}" srcOrd="2" destOrd="0" parTransId="{36E96AA5-58BD-4463-8AC7-C7605675329D}" sibTransId="{4DB320F3-DA54-426D-95BE-7952EFF35D61}"/>
    <dgm:cxn modelId="{2CA59D98-A57E-40DB-862D-332DD9FE11FB}" srcId="{17012AFC-D3C1-4556-BCA0-69E7EF7D426B}" destId="{E9A975ED-C728-4E64-B90E-4B505F6C90B9}" srcOrd="3" destOrd="0" parTransId="{97E78FE5-005F-480B-ADDD-02C500177BBA}" sibTransId="{BD353001-6067-4889-B0B0-5C7A4C228A3C}"/>
    <dgm:cxn modelId="{5148F001-3746-4F69-B6E2-6352844413F5}" type="presOf" srcId="{DE6CB324-04C8-4039-A4A1-2D784450FD41}" destId="{8315F59C-535C-41A3-9977-47ED97AB1D59}" srcOrd="1" destOrd="0" presId="urn:microsoft.com/office/officeart/2005/8/layout/orgChart1"/>
    <dgm:cxn modelId="{08BF7DC3-15BE-404E-9EFB-7C50D9C07D2F}" srcId="{C210B5A7-FC8F-4CFB-888B-78A66105B5E3}" destId="{772FF846-B977-4229-8998-FD334892F6D6}" srcOrd="7" destOrd="0" parTransId="{64F965F4-0063-4154-85F6-3E001459EE1E}" sibTransId="{CAC25007-4073-4055-B964-CEFD35EB0825}"/>
    <dgm:cxn modelId="{A19E1990-2C36-46D4-80B1-E5893BB9A696}" type="presOf" srcId="{BFBB2B3E-EE3E-4352-9F16-33C8D905B52C}" destId="{EE5F5FC3-2FC6-4461-ABAA-F66D65415C6E}" srcOrd="0" destOrd="0" presId="urn:microsoft.com/office/officeart/2005/8/layout/orgChart1"/>
    <dgm:cxn modelId="{66D1CB44-4610-42F1-91AA-35A3C15028CB}" srcId="{D9A67AE4-4575-43B7-A6F3-0BD58EA221F0}" destId="{17012AFC-D3C1-4556-BCA0-69E7EF7D426B}" srcOrd="3" destOrd="0" parTransId="{D3AB7F58-C8BD-4F52-BA48-1335ECA51BF3}" sibTransId="{2891E821-653F-4013-91DF-F4C272A737E3}"/>
    <dgm:cxn modelId="{BBDE429F-1D76-4BDD-9030-CD5705A2E3D0}" type="presOf" srcId="{DB7FB121-89FA-4FDA-BA06-6EB92D692684}" destId="{FA874DA8-4D76-40E4-B03F-68097D2BD076}" srcOrd="0" destOrd="0" presId="urn:microsoft.com/office/officeart/2005/8/layout/orgChart1"/>
    <dgm:cxn modelId="{D76E7A46-449D-4C57-9999-AA9011E02F76}" type="presOf" srcId="{6FFB1031-0A73-4469-BCC7-5B3640D26945}" destId="{830D38BF-6282-47C5-BAC0-DF00893C467F}" srcOrd="0" destOrd="0" presId="urn:microsoft.com/office/officeart/2005/8/layout/orgChart1"/>
    <dgm:cxn modelId="{E4EA2D30-D7A3-430A-9DE1-BB8D372F300E}" type="presOf" srcId="{2F5C0CB3-A347-4DB6-A843-8920EBFA59B6}" destId="{68F9805C-8CAE-4938-9623-6375F921F333}" srcOrd="0" destOrd="0" presId="urn:microsoft.com/office/officeart/2005/8/layout/orgChart1"/>
    <dgm:cxn modelId="{533543F8-A377-4856-AA1C-72D7E17B3E44}" type="presOf" srcId="{2F5C0CB3-A347-4DB6-A843-8920EBFA59B6}" destId="{EED161AF-40AD-43B2-8B46-38DF36ECA8B3}" srcOrd="1" destOrd="0" presId="urn:microsoft.com/office/officeart/2005/8/layout/orgChart1"/>
    <dgm:cxn modelId="{D620C2D2-A93A-4291-AB41-C4C4272825DC}" srcId="{C210B5A7-FC8F-4CFB-888B-78A66105B5E3}" destId="{D6F17EA9-E082-43E6-9D65-85C43DB9E61E}" srcOrd="3" destOrd="0" parTransId="{9E6D193C-AE2E-4C60-B40E-8A836963A6ED}" sibTransId="{C6072D5B-B209-4632-BF6C-A85AFBA9582B}"/>
    <dgm:cxn modelId="{DE9A1A87-8CD1-4D87-8861-ECD2EC71DE42}" type="presOf" srcId="{9E6D193C-AE2E-4C60-B40E-8A836963A6ED}" destId="{B743BF5E-8E74-4AA4-AF77-FEB591727596}" srcOrd="0" destOrd="0" presId="urn:microsoft.com/office/officeart/2005/8/layout/orgChart1"/>
    <dgm:cxn modelId="{79C1E039-08C6-4B11-BA57-323AA6DADBCF}" type="presOf" srcId="{C86C1488-BD31-4F23-97DB-7C2B89FF3AD9}" destId="{16194040-5E60-434D-BF92-83FD3BBE53B9}" srcOrd="0" destOrd="0" presId="urn:microsoft.com/office/officeart/2005/8/layout/orgChart1"/>
    <dgm:cxn modelId="{BB5E5450-5885-462C-9621-05AEBAA1B773}" type="presOf" srcId="{2E1B0A68-5385-427D-BCDA-B3B9911E240A}" destId="{3B1825C6-1AEF-462F-A1CD-79B8796D71BF}" srcOrd="0" destOrd="0" presId="urn:microsoft.com/office/officeart/2005/8/layout/orgChart1"/>
    <dgm:cxn modelId="{BC229DCF-11D5-452F-A8A6-7621799832AD}" type="presOf" srcId="{32925A20-E0E2-491B-BCB4-1CACA4A7DB4F}" destId="{9185C20B-3F53-4B76-A66A-573CD6C3DBE0}" srcOrd="0" destOrd="0" presId="urn:microsoft.com/office/officeart/2005/8/layout/orgChart1"/>
    <dgm:cxn modelId="{84B929F6-F34A-4CCF-8C57-313BF2FCADC1}" type="presOf" srcId="{7520F216-6A93-4900-B03B-1CAE7FDB300B}" destId="{04410A4D-7DCC-4946-8471-DFD4EE5F71CD}" srcOrd="0" destOrd="0" presId="urn:microsoft.com/office/officeart/2005/8/layout/orgChart1"/>
    <dgm:cxn modelId="{34619154-2874-42E1-B530-942BF7DE9588}" srcId="{D9A67AE4-4575-43B7-A6F3-0BD58EA221F0}" destId="{3FA8E52E-41A8-4B79-88F3-ABDEBF17CD17}" srcOrd="0" destOrd="0" parTransId="{3DAC40A4-5971-441F-9133-8187AFA97BC7}" sibTransId="{C6B1D5F1-D291-4575-A8D3-D12B8411F8B8}"/>
    <dgm:cxn modelId="{3B8C3D24-1A72-4173-92D1-D29C22B5BE27}" type="presOf" srcId="{3FA8E52E-41A8-4B79-88F3-ABDEBF17CD17}" destId="{B7CC506E-76AA-4F38-A791-F42D4C7CADF8}" srcOrd="0" destOrd="0" presId="urn:microsoft.com/office/officeart/2005/8/layout/orgChart1"/>
    <dgm:cxn modelId="{36AA48F8-D445-4EF9-98A6-D35F8837F0FE}" type="presOf" srcId="{772FF846-B977-4229-8998-FD334892F6D6}" destId="{7095D4F8-1C8A-4F9A-9B63-236944966ED1}" srcOrd="1" destOrd="0" presId="urn:microsoft.com/office/officeart/2005/8/layout/orgChart1"/>
    <dgm:cxn modelId="{B41535A2-6C90-4E41-8DA4-45B631122811}" type="presOf" srcId="{D9A67AE4-4575-43B7-A6F3-0BD58EA221F0}" destId="{11C8C23B-B493-47C5-9205-B34A41C8E805}" srcOrd="1" destOrd="0" presId="urn:microsoft.com/office/officeart/2005/8/layout/orgChart1"/>
    <dgm:cxn modelId="{3BA6B1A4-DD46-4EC4-89EB-696660C6E425}" srcId="{17012AFC-D3C1-4556-BCA0-69E7EF7D426B}" destId="{9002187A-E2EC-4717-831E-102A4221D70E}" srcOrd="4" destOrd="0" parTransId="{4C075103-1FAA-4D49-8304-A018805FFDE8}" sibTransId="{1E658E4A-AB82-4D65-AA86-17D4B91A0032}"/>
    <dgm:cxn modelId="{FE5C9D36-FACB-4196-9D2A-C62DFBBE0606}" type="presOf" srcId="{AC209003-8BA6-44DF-A8F6-9D2C5C73FF0B}" destId="{6FCF4D04-EFDA-413E-8BA0-F4AD778E5115}" srcOrd="1" destOrd="0" presId="urn:microsoft.com/office/officeart/2005/8/layout/orgChart1"/>
    <dgm:cxn modelId="{FFE56686-CF77-4990-8FC8-B17B0A6C1C82}" srcId="{4A2B5A49-02C5-4CAF-B182-FD73BC39F0B6}" destId="{2D341EAF-8E02-4FFB-8BC7-8E749BCA3386}" srcOrd="0" destOrd="0" parTransId="{0501E4C1-E7FE-472A-A140-201BB0837341}" sibTransId="{A8B58A40-33F2-49FA-A4B6-8B1E6A3D8248}"/>
    <dgm:cxn modelId="{E1954F3A-1004-4E52-A1F8-D865F2EDF221}" type="presOf" srcId="{3FA8E52E-41A8-4B79-88F3-ABDEBF17CD17}" destId="{9A3B73B8-A734-4DA9-B323-C843A6C97FD7}" srcOrd="1" destOrd="0" presId="urn:microsoft.com/office/officeart/2005/8/layout/orgChart1"/>
    <dgm:cxn modelId="{A5444AED-EEAA-4EE2-BB05-825EBD618448}" type="presOf" srcId="{FF33382B-89C8-4B25-8169-CD7550BE112E}" destId="{C981F861-5079-4644-BDF7-785B038AC3AD}" srcOrd="0" destOrd="0" presId="urn:microsoft.com/office/officeart/2005/8/layout/orgChart1"/>
    <dgm:cxn modelId="{A3540550-119B-45B9-8ED4-09CF1361003A}" type="presOf" srcId="{7040D635-CE3C-4D39-B00B-23C0DAD01902}" destId="{C2E3C8C2-963F-46A6-A733-D84654932C5D}" srcOrd="0" destOrd="0" presId="urn:microsoft.com/office/officeart/2005/8/layout/orgChart1"/>
    <dgm:cxn modelId="{9820CA1E-1691-47FA-A880-ED1D5CB29D1B}" srcId="{4A2B5A49-02C5-4CAF-B182-FD73BC39F0B6}" destId="{AEF99AFC-BCE6-483A-9DBF-D4311D315409}" srcOrd="1" destOrd="0" parTransId="{23C38686-FC84-49F1-B747-F325F35C7D06}" sibTransId="{944BA3E3-A7DB-42E6-BE3A-27FE8324A05A}"/>
    <dgm:cxn modelId="{E5FDAAB9-D389-4CEB-A06D-6D500C744BCD}" type="presOf" srcId="{A67701C2-2154-49A9-AEE7-642B0F6E0EDA}" destId="{EA59485D-2E2F-42CB-B81B-A0E1E3EA3A1C}" srcOrd="0" destOrd="0" presId="urn:microsoft.com/office/officeart/2005/8/layout/orgChart1"/>
    <dgm:cxn modelId="{2B6C21FC-575B-4694-8574-62E0ED99E0E2}" type="presOf" srcId="{7741473B-E186-4580-BC20-E482C22F84BC}" destId="{3D806196-A09E-42B6-89DA-5DE151B649CC}" srcOrd="0" destOrd="0" presId="urn:microsoft.com/office/officeart/2005/8/layout/orgChart1"/>
    <dgm:cxn modelId="{B32A2FAD-5675-4E17-B976-EC6637BCCCC6}" type="presOf" srcId="{36E96AA5-58BD-4463-8AC7-C7605675329D}" destId="{4C665A08-AC56-45D8-8D87-B1C7BBA58F7E}" srcOrd="0" destOrd="0" presId="urn:microsoft.com/office/officeart/2005/8/layout/orgChart1"/>
    <dgm:cxn modelId="{4D0D2DBF-09D6-4DEC-9CC7-E883F97C5197}" srcId="{3FA8E52E-41A8-4B79-88F3-ABDEBF17CD17}" destId="{2F5C0CB3-A347-4DB6-A843-8920EBFA59B6}" srcOrd="2" destOrd="0" parTransId="{6FA0B268-20E6-499D-A943-270BC5C30AC9}" sibTransId="{677BD7D6-19D5-4D7B-8449-37BF39C7EDD8}"/>
    <dgm:cxn modelId="{A1616BE4-5FD4-4DB4-831D-F046C4A148DC}" type="presOf" srcId="{8B3B7F3F-9569-4813-B483-35B81A80F496}" destId="{AF9B3472-43A8-400D-9CD2-962F2F9B4648}" srcOrd="1" destOrd="0" presId="urn:microsoft.com/office/officeart/2005/8/layout/orgChart1"/>
    <dgm:cxn modelId="{92F4E6A0-1A96-4C46-B210-830BC88F4279}" type="presOf" srcId="{AD9B6B29-76D5-426B-93B6-5BFE62AB229B}" destId="{BAABFAAE-EC69-4E1F-B78D-D84BCDA0D6AD}" srcOrd="1" destOrd="0" presId="urn:microsoft.com/office/officeart/2005/8/layout/orgChart1"/>
    <dgm:cxn modelId="{F0790983-4865-4AD1-AF01-4112360292C7}" type="presOf" srcId="{128CD2A8-559B-42A1-B1A9-0396AC1A0AFE}" destId="{C18432C2-F5A3-442A-9977-38AEE04F13DD}" srcOrd="0" destOrd="0" presId="urn:microsoft.com/office/officeart/2005/8/layout/orgChart1"/>
    <dgm:cxn modelId="{EBAB78E3-6E9F-4775-A6ED-B88DF04F8454}" type="presOf" srcId="{D6F17EA9-E082-43E6-9D65-85C43DB9E61E}" destId="{0E40AEC0-2671-423A-8A47-DC6E1E2C8277}" srcOrd="0" destOrd="0" presId="urn:microsoft.com/office/officeart/2005/8/layout/orgChart1"/>
    <dgm:cxn modelId="{EB209EA5-95A0-4C85-9D84-03CB4D956D2E}" type="presOf" srcId="{97E78FE5-005F-480B-ADDD-02C500177BBA}" destId="{A60D6A16-F6F3-469C-998A-AD9746314B50}" srcOrd="0" destOrd="0" presId="urn:microsoft.com/office/officeart/2005/8/layout/orgChart1"/>
    <dgm:cxn modelId="{C571A3F9-11CF-40F7-8776-A8961DD7737C}" type="presOf" srcId="{BB821B91-6134-47D8-8488-D39B8F6FB9F5}" destId="{FC2A0575-63FD-4437-9846-05FE755CCA4D}" srcOrd="0" destOrd="0" presId="urn:microsoft.com/office/officeart/2005/8/layout/orgChart1"/>
    <dgm:cxn modelId="{D4002481-CB70-466D-89A0-CE89B06C746F}" type="presOf" srcId="{C210B5A7-FC8F-4CFB-888B-78A66105B5E3}" destId="{C633A689-B769-440B-A61E-472B58BC51D4}" srcOrd="0" destOrd="0" presId="urn:microsoft.com/office/officeart/2005/8/layout/orgChart1"/>
    <dgm:cxn modelId="{9CB15840-ED7E-4C51-A67E-BA1564B7935B}" type="presOf" srcId="{AEF99AFC-BCE6-483A-9DBF-D4311D315409}" destId="{1278BCC9-713A-42EA-B5C7-590514CE77EA}" srcOrd="1" destOrd="0" presId="urn:microsoft.com/office/officeart/2005/8/layout/orgChart1"/>
    <dgm:cxn modelId="{AFE737BE-9163-4468-9753-6B5DB90FC82A}" type="presOf" srcId="{E9A975ED-C728-4E64-B90E-4B505F6C90B9}" destId="{35745B26-F070-41AC-9DB6-D2575B1469B0}" srcOrd="1" destOrd="0" presId="urn:microsoft.com/office/officeart/2005/8/layout/orgChart1"/>
    <dgm:cxn modelId="{53B7E1AE-4459-4281-93D4-BC7F32AB5605}" type="presOf" srcId="{862E5178-4EA9-49DF-9E29-89AA5E3C5029}" destId="{23EDB892-9EB4-4D68-BBE5-B200E79A66A9}" srcOrd="0" destOrd="0" presId="urn:microsoft.com/office/officeart/2005/8/layout/orgChart1"/>
    <dgm:cxn modelId="{97C901B1-F235-4213-AB1D-B1DD068E5636}" type="presOf" srcId="{07A97D4C-A6EA-472B-B9F4-9A14FB6975E8}" destId="{84973679-6F82-4ED4-A935-CA4A0FD0F148}" srcOrd="0" destOrd="0" presId="urn:microsoft.com/office/officeart/2005/8/layout/orgChart1"/>
    <dgm:cxn modelId="{5955092D-3D5D-4A47-A9F2-15D5112DA505}" srcId="{3FA8E52E-41A8-4B79-88F3-ABDEBF17CD17}" destId="{7741473B-E186-4580-BC20-E482C22F84BC}" srcOrd="4" destOrd="0" parTransId="{AD30EE2C-612E-4D7A-9A9D-63748E547A4E}" sibTransId="{6C4AD7F0-8C67-48D0-A127-C28309A053BC}"/>
    <dgm:cxn modelId="{8CFB153D-0BBD-4330-BD3B-489F48BBBD57}" type="presOf" srcId="{772FF846-B977-4229-8998-FD334892F6D6}" destId="{FCD4C20C-521F-4545-939A-8A7799913E93}" srcOrd="0" destOrd="0" presId="urn:microsoft.com/office/officeart/2005/8/layout/orgChart1"/>
    <dgm:cxn modelId="{285E57CE-1EB0-4B84-BEF0-4100EA049943}" type="presOf" srcId="{2758B6C3-6786-4A0A-94BA-3C0B87000D62}" destId="{3AC870FB-C26A-455D-A787-26FB8A768500}" srcOrd="0" destOrd="0" presId="urn:microsoft.com/office/officeart/2005/8/layout/orgChart1"/>
    <dgm:cxn modelId="{9FB34593-5427-4653-AC99-16014F8247AE}" type="presOf" srcId="{3DAC40A4-5971-441F-9133-8187AFA97BC7}" destId="{D8734DF8-E79C-44E6-9764-7B2B826E2D1C}" srcOrd="0" destOrd="0" presId="urn:microsoft.com/office/officeart/2005/8/layout/orgChart1"/>
    <dgm:cxn modelId="{6A82B0E9-80E4-46E0-A514-75A8230AE255}" type="presOf" srcId="{FD01D34D-5E0D-46CB-A169-082DA7DAD974}" destId="{DE8D8668-96E8-4FBC-8F48-E04927E8AF75}" srcOrd="0" destOrd="0" presId="urn:microsoft.com/office/officeart/2005/8/layout/orgChart1"/>
    <dgm:cxn modelId="{B0E191D3-DF06-43DD-98CE-ED2055F0DD11}" type="presOf" srcId="{4C075103-1FAA-4D49-8304-A018805FFDE8}" destId="{33F05970-CE5A-4B8F-B2ED-821CE72425D7}" srcOrd="0" destOrd="0" presId="urn:microsoft.com/office/officeart/2005/8/layout/orgChart1"/>
    <dgm:cxn modelId="{FC1E3A1B-D4BE-47C5-8B61-0A83D29E27DD}" type="presOf" srcId="{8258131A-64F0-468E-89FA-30CD74677209}" destId="{C52F6E7A-06EB-4ED7-9448-A059B6929A94}" srcOrd="0" destOrd="0" presId="urn:microsoft.com/office/officeart/2005/8/layout/orgChart1"/>
    <dgm:cxn modelId="{323A174D-A943-481C-AA12-3A02F0E37880}" srcId="{C210B5A7-FC8F-4CFB-888B-78A66105B5E3}" destId="{A67701C2-2154-49A9-AEE7-642B0F6E0EDA}" srcOrd="4" destOrd="0" parTransId="{68FB7B31-DBFA-4E20-A5A9-242EBD808708}" sibTransId="{DE5C4C84-FC53-429E-B431-54377B1406F5}"/>
    <dgm:cxn modelId="{B0419458-CD33-49B9-81BF-89FBB842C48B}" type="presOf" srcId="{3E8566DB-3FD9-4E15-964E-6C880A5BB489}" destId="{47EA5480-D883-4F10-85FC-3C1C11868AAB}" srcOrd="0" destOrd="0" presId="urn:microsoft.com/office/officeart/2005/8/layout/orgChart1"/>
    <dgm:cxn modelId="{93575EAD-532B-4945-9E13-EEEF41EDAE38}" type="presOf" srcId="{4F00BF85-AC72-481D-BE7B-D4C9F900999E}" destId="{6525961F-8FBD-4859-8DE6-CC029265436B}" srcOrd="0" destOrd="0" presId="urn:microsoft.com/office/officeart/2005/8/layout/orgChart1"/>
    <dgm:cxn modelId="{E54E1839-2F8C-40A3-BC05-0ED3B4FF545D}" type="presOf" srcId="{64F965F4-0063-4154-85F6-3E001459EE1E}" destId="{5FAD3576-45D6-41B4-8CB0-E188125E4354}" srcOrd="0" destOrd="0" presId="urn:microsoft.com/office/officeart/2005/8/layout/orgChart1"/>
    <dgm:cxn modelId="{5A8D1A8A-5564-452B-A429-2346DB415F78}" type="presOf" srcId="{2D341EAF-8E02-4FFB-8BC7-8E749BCA3386}" destId="{889AFA51-C7BD-4939-911F-CB1271EB2AF8}" srcOrd="0" destOrd="0" presId="urn:microsoft.com/office/officeart/2005/8/layout/orgChart1"/>
    <dgm:cxn modelId="{BAB3E1AA-E4E1-4745-8856-59D08EA52C4D}" type="presOf" srcId="{AEF99AFC-BCE6-483A-9DBF-D4311D315409}" destId="{5566157D-149C-460F-97F5-CE2E5214442B}" srcOrd="0" destOrd="0" presId="urn:microsoft.com/office/officeart/2005/8/layout/orgChart1"/>
    <dgm:cxn modelId="{BBA86DD5-1742-4C9F-84A2-5D74CDCEEAB2}" srcId="{C210B5A7-FC8F-4CFB-888B-78A66105B5E3}" destId="{9EBBB895-7600-4C5C-AD2A-85DBB7813F37}" srcOrd="9" destOrd="0" parTransId="{862E5178-4EA9-49DF-9E29-89AA5E3C5029}" sibTransId="{BF217296-EF35-4EE0-873D-C5A079B5430C}"/>
    <dgm:cxn modelId="{728AF32F-E2AC-4F45-A75F-56A22C2422B6}" type="presOf" srcId="{E506AFA8-1B82-43BC-98C8-F80DC54DD35B}" destId="{AD2E7CCF-8632-48BA-AB5F-38D672160CB7}" srcOrd="0" destOrd="0" presId="urn:microsoft.com/office/officeart/2005/8/layout/orgChart1"/>
    <dgm:cxn modelId="{0A55B5DD-7EB2-4D36-9443-83E1BB23C922}" type="presOf" srcId="{4D12AA29-479B-49C6-9FF2-D77C0C9C8CC6}" destId="{DF2A5BDB-731B-4743-8645-30CC461A515D}" srcOrd="0" destOrd="0" presId="urn:microsoft.com/office/officeart/2005/8/layout/orgChart1"/>
    <dgm:cxn modelId="{9D198FC1-F8DA-4659-B444-6081B9ABB3B9}" type="presOf" srcId="{84939823-9C1A-4A52-8238-B36504B8A531}" destId="{36BF8A7A-9D89-41C0-8B99-0645BE0B5C9B}" srcOrd="0" destOrd="0" presId="urn:microsoft.com/office/officeart/2005/8/layout/orgChart1"/>
    <dgm:cxn modelId="{A8F22015-5F7F-4FD8-956E-C281F2F39B0A}" type="presOf" srcId="{0501E4C1-E7FE-472A-A140-201BB0837341}" destId="{CA3AC0F8-D2DD-45A4-986D-8A7CA3FCA483}" srcOrd="0" destOrd="0" presId="urn:microsoft.com/office/officeart/2005/8/layout/orgChart1"/>
    <dgm:cxn modelId="{11DC3F31-E171-4989-A766-9FAB6F094259}" type="presOf" srcId="{B0DC9A8E-7A12-4BF0-8A96-882866292D90}" destId="{59553AB9-15C6-41A5-86D0-0A8B70218E8B}" srcOrd="0" destOrd="0" presId="urn:microsoft.com/office/officeart/2005/8/layout/orgChart1"/>
    <dgm:cxn modelId="{88878640-DE91-47E5-87CF-77ECDF08901A}" type="presOf" srcId="{4A2B5A49-02C5-4CAF-B182-FD73BC39F0B6}" destId="{A1A7E265-6B33-4908-BF5C-D6CD576CE0F9}" srcOrd="0" destOrd="0" presId="urn:microsoft.com/office/officeart/2005/8/layout/orgChart1"/>
    <dgm:cxn modelId="{34F9BC05-CAC4-4E87-934E-1B3A556104C0}" type="presOf" srcId="{32925A20-E0E2-491B-BCB4-1CACA4A7DB4F}" destId="{F7DFF23A-F7C5-477C-B4A9-B17D28FAD8AD}" srcOrd="1" destOrd="0" presId="urn:microsoft.com/office/officeart/2005/8/layout/orgChart1"/>
    <dgm:cxn modelId="{5E05D01C-86C1-4D78-9891-28D3BB9C2A58}" srcId="{C210B5A7-FC8F-4CFB-888B-78A66105B5E3}" destId="{DB7FB121-89FA-4FDA-BA06-6EB92D692684}" srcOrd="1" destOrd="0" parTransId="{FD01D34D-5E0D-46CB-A169-082DA7DAD974}" sibTransId="{DD9AF56D-050C-4FCF-866D-9181CC568B13}"/>
    <dgm:cxn modelId="{3CED85E4-155F-4026-B7DA-E34E22B809F5}" type="presOf" srcId="{AD30EE2C-612E-4D7A-9A9D-63748E547A4E}" destId="{E2C6E8CA-49E0-4ED9-8590-8C6DE8D745C9}" srcOrd="0" destOrd="0" presId="urn:microsoft.com/office/officeart/2005/8/layout/orgChart1"/>
    <dgm:cxn modelId="{1497C894-83A1-4D77-ACE5-B68706E6D3A2}" type="presOf" srcId="{D9A67AE4-4575-43B7-A6F3-0BD58EA221F0}" destId="{4647B7EA-AC87-4476-9537-D181D7693287}" srcOrd="0" destOrd="0" presId="urn:microsoft.com/office/officeart/2005/8/layout/orgChart1"/>
    <dgm:cxn modelId="{481A6D29-199E-4870-B4EE-9E7E05D3F29D}" type="presOf" srcId="{AD9B6B29-76D5-426B-93B6-5BFE62AB229B}" destId="{69577400-3728-444D-96E5-E59C84094316}" srcOrd="0" destOrd="0" presId="urn:microsoft.com/office/officeart/2005/8/layout/orgChart1"/>
    <dgm:cxn modelId="{2B7C3488-5763-4C43-9044-1B4822E0565B}" type="presOf" srcId="{E6B68188-F1B4-4DE3-B26E-C5597DBA8B4B}" destId="{EB7A51C9-2A3B-4023-940F-7A577F808009}" srcOrd="0" destOrd="0" presId="urn:microsoft.com/office/officeart/2005/8/layout/orgChart1"/>
    <dgm:cxn modelId="{8C9784A1-19C7-48ED-B8AA-8437BCB9E5AD}" type="presOf" srcId="{7CE8175F-BCF0-4B92-A842-728EC78F57D8}" destId="{342F66C1-B350-4FB9-B560-508F7697197D}" srcOrd="1" destOrd="0" presId="urn:microsoft.com/office/officeart/2005/8/layout/orgChart1"/>
    <dgm:cxn modelId="{94208EA0-ED48-4AB5-A236-36922BB3B786}" type="presOf" srcId="{EF5E585F-3673-4CC4-9E22-D48DF4FE27E6}" destId="{1E6F7728-0201-4A15-AC95-CC7E377B1A72}" srcOrd="0" destOrd="0" presId="urn:microsoft.com/office/officeart/2005/8/layout/orgChart1"/>
    <dgm:cxn modelId="{34207F5E-0D16-4202-B571-48C6ACF84E38}" type="presOf" srcId="{E506AFA8-1B82-43BC-98C8-F80DC54DD35B}" destId="{CC4D928E-8FD4-48D7-883D-76404CA06E7E}" srcOrd="1" destOrd="0" presId="urn:microsoft.com/office/officeart/2005/8/layout/orgChart1"/>
    <dgm:cxn modelId="{4B3AF09B-29B5-432E-8673-8C6752AB21C7}" srcId="{17012AFC-D3C1-4556-BCA0-69E7EF7D426B}" destId="{7CE8175F-BCF0-4B92-A842-728EC78F57D8}" srcOrd="6" destOrd="0" parTransId="{3E8566DB-3FD9-4E15-964E-6C880A5BB489}" sibTransId="{266FE5F5-DC7C-4293-9928-2DDF57061B31}"/>
    <dgm:cxn modelId="{3A51C271-4333-4EB7-ADA2-EC4112D6B767}" type="presOf" srcId="{4A2B5A49-02C5-4CAF-B182-FD73BC39F0B6}" destId="{439D2B84-4BEE-4138-999D-519850687B31}" srcOrd="1" destOrd="0" presId="urn:microsoft.com/office/officeart/2005/8/layout/orgChart1"/>
    <dgm:cxn modelId="{41DC3BDF-1547-4112-BA11-56902743FF8D}" srcId="{4A2B5A49-02C5-4CAF-B182-FD73BC39F0B6}" destId="{32925A20-E0E2-491B-BCB4-1CACA4A7DB4F}" srcOrd="3" destOrd="0" parTransId="{BB821B91-6134-47D8-8488-D39B8F6FB9F5}" sibTransId="{DDFBE557-D867-483E-91FE-2D29EEFD04B9}"/>
    <dgm:cxn modelId="{56BFE528-2D3F-4468-B963-A60865AA45E3}" type="presOf" srcId="{7040D635-CE3C-4D39-B00B-23C0DAD01902}" destId="{77C70671-18DE-43E8-BF2F-71650C01E492}" srcOrd="1" destOrd="0" presId="urn:microsoft.com/office/officeart/2005/8/layout/orgChart1"/>
    <dgm:cxn modelId="{7CE4B070-D832-43BE-B048-E7B02A1AFA58}" srcId="{D9A67AE4-4575-43B7-A6F3-0BD58EA221F0}" destId="{C210B5A7-FC8F-4CFB-888B-78A66105B5E3}" srcOrd="1" destOrd="0" parTransId="{C86C1488-BD31-4F23-97DB-7C2B89FF3AD9}" sibTransId="{FFD25E3B-8967-48DE-80D4-340F432E9169}"/>
    <dgm:cxn modelId="{15B14D79-9D12-4039-9189-B36948E4CAA5}" srcId="{4A2B5A49-02C5-4CAF-B182-FD73BC39F0B6}" destId="{07A97D4C-A6EA-472B-B9F4-9A14FB6975E8}" srcOrd="2" destOrd="0" parTransId="{50B3E178-BFC2-4416-AC2A-F7733BD7FD55}" sibTransId="{696D6805-C316-41B5-882F-4C7EE821847B}"/>
    <dgm:cxn modelId="{26A6BF0F-65D1-4ADF-A778-3390EC2B695D}" type="presOf" srcId="{6FA0B268-20E6-499D-A943-270BC5C30AC9}" destId="{8912F301-E950-4E0C-B146-0A5185F9A67F}" srcOrd="0" destOrd="0" presId="urn:microsoft.com/office/officeart/2005/8/layout/orgChart1"/>
    <dgm:cxn modelId="{8421E3B7-4564-4DF0-913B-DF68BA546744}" type="presOf" srcId="{2758B6C3-6786-4A0A-94BA-3C0B87000D62}" destId="{E350FF0A-3899-4666-BFBB-4391AE4ED83D}" srcOrd="1" destOrd="0" presId="urn:microsoft.com/office/officeart/2005/8/layout/orgChart1"/>
    <dgm:cxn modelId="{557D6E5E-59E9-43D7-8845-F7FB07D1F166}" srcId="{3FA8E52E-41A8-4B79-88F3-ABDEBF17CD17}" destId="{E506AFA8-1B82-43BC-98C8-F80DC54DD35B}" srcOrd="0" destOrd="0" parTransId="{EF5E585F-3673-4CC4-9E22-D48DF4FE27E6}" sibTransId="{1E24B422-6D41-454D-BA4B-D634E2BDF376}"/>
    <dgm:cxn modelId="{694ED9D8-997C-40CB-B2B9-9CA76F6EEBD1}" srcId="{17012AFC-D3C1-4556-BCA0-69E7EF7D426B}" destId="{4F00BF85-AC72-481D-BE7B-D4C9F900999E}" srcOrd="0" destOrd="0" parTransId="{5E41AA33-18C8-4417-B53F-484A14595051}" sibTransId="{282FF86C-1827-4838-A6BF-3FFDB505CF60}"/>
    <dgm:cxn modelId="{78F1C8F2-BFF8-41B0-BB04-0785CA0AD068}" type="presOf" srcId="{AC209003-8BA6-44DF-A8F6-9D2C5C73FF0B}" destId="{4C1F4693-C8EA-4D49-A3D3-8D6D9A6A79CE}" srcOrd="0" destOrd="0" presId="urn:microsoft.com/office/officeart/2005/8/layout/orgChart1"/>
    <dgm:cxn modelId="{DCB2D5B5-849C-4861-9321-6DD9E019EA81}" type="presOf" srcId="{8B3B7F3F-9569-4813-B483-35B81A80F496}" destId="{78EE5F20-2D72-4F04-BE3F-8283CA4EB390}" srcOrd="0" destOrd="0" presId="urn:microsoft.com/office/officeart/2005/8/layout/orgChart1"/>
    <dgm:cxn modelId="{A61C9F55-6449-4178-9CC6-F1D3CAA7F97D}" srcId="{C210B5A7-FC8F-4CFB-888B-78A66105B5E3}" destId="{8258131A-64F0-468E-89FA-30CD74677209}" srcOrd="0" destOrd="0" parTransId="{FF33382B-89C8-4B25-8169-CD7550BE112E}" sibTransId="{F2F6720F-1FA0-4D9D-AA63-E6FA9B6536EA}"/>
    <dgm:cxn modelId="{3818A852-7E02-4176-9B23-7070054FD95C}" srcId="{C210B5A7-FC8F-4CFB-888B-78A66105B5E3}" destId="{DE6CB324-04C8-4039-A4A1-2D784450FD41}" srcOrd="8" destOrd="0" parTransId="{128CD2A8-559B-42A1-B1A9-0396AC1A0AFE}" sibTransId="{6F693912-8461-40A5-A0DD-40F146CA405B}"/>
    <dgm:cxn modelId="{5F7F5C44-18F5-4C70-823F-335B65AE54DD}" type="presOf" srcId="{E9A975ED-C728-4E64-B90E-4B505F6C90B9}" destId="{B12AF6D6-EC2F-4B2B-992C-8D08E7129CD6}" srcOrd="0" destOrd="0" presId="urn:microsoft.com/office/officeart/2005/8/layout/orgChart1"/>
    <dgm:cxn modelId="{CD0C1815-C923-44F7-98C6-FDF3B1606F51}" type="presOf" srcId="{8258131A-64F0-468E-89FA-30CD74677209}" destId="{A0C33D3F-A411-47FC-90AA-856B0B304567}" srcOrd="1" destOrd="0" presId="urn:microsoft.com/office/officeart/2005/8/layout/orgChart1"/>
    <dgm:cxn modelId="{25D2806F-B49E-47EC-9BA5-D6D37CB1926D}" srcId="{17012AFC-D3C1-4556-BCA0-69E7EF7D426B}" destId="{8B3B7F3F-9569-4813-B483-35B81A80F496}" srcOrd="1" destOrd="0" parTransId="{2E1B0A68-5385-427D-BCDA-B3B9911E240A}" sibTransId="{E0589A92-A73B-4545-A5CA-F7B6316B1541}"/>
    <dgm:cxn modelId="{FC9907BF-F262-4F62-BF49-B7FA996864FF}" type="presOf" srcId="{9002187A-E2EC-4717-831E-102A4221D70E}" destId="{AC80687D-CE89-4BFB-A0CD-895A4C091F36}" srcOrd="1" destOrd="0" presId="urn:microsoft.com/office/officeart/2005/8/layout/orgChart1"/>
    <dgm:cxn modelId="{01DE2925-6210-4D27-B61B-790A3B60DFBA}" type="presOf" srcId="{50B3E178-BFC2-4416-AC2A-F7733BD7FD55}" destId="{5EE41A7C-9A60-4601-9E7F-353EBE225BC6}" srcOrd="0" destOrd="0" presId="urn:microsoft.com/office/officeart/2005/8/layout/orgChart1"/>
    <dgm:cxn modelId="{078DB020-41A3-43B9-855B-CA47EEA97C59}" type="presOf" srcId="{D3AB7F58-C8BD-4F52-BA48-1335ECA51BF3}" destId="{52E9BC89-FDF8-438D-A60C-DC48E0884547}" srcOrd="0" destOrd="0" presId="urn:microsoft.com/office/officeart/2005/8/layout/orgChart1"/>
    <dgm:cxn modelId="{348657C0-DC97-4F45-8FB3-4A1A64EA1DBE}" type="presOf" srcId="{2D341EAF-8E02-4FFB-8BC7-8E749BCA3386}" destId="{A98729FF-77F6-46B8-967E-2555C25F663E}" srcOrd="1" destOrd="0" presId="urn:microsoft.com/office/officeart/2005/8/layout/orgChart1"/>
    <dgm:cxn modelId="{C7DD373B-A265-4E7E-A96E-3F1BC5B5FC3F}" srcId="{D9A67AE4-4575-43B7-A6F3-0BD58EA221F0}" destId="{4A2B5A49-02C5-4CAF-B182-FD73BC39F0B6}" srcOrd="2" destOrd="0" parTransId="{6FB800BF-C0D2-4431-90AD-DB6C6F916073}" sibTransId="{F330B70A-5047-4F52-80F0-426794C12634}"/>
    <dgm:cxn modelId="{889E07D5-B3DA-49CD-A216-C666F0E36142}" srcId="{C210B5A7-FC8F-4CFB-888B-78A66105B5E3}" destId="{7520F216-6A93-4900-B03B-1CAE7FDB300B}" srcOrd="2" destOrd="0" parTransId="{4D12AA29-479B-49C6-9FF2-D77C0C9C8CC6}" sibTransId="{BA27681F-B8E8-4861-83D6-629C56782002}"/>
    <dgm:cxn modelId="{24106185-18D9-48B1-AAE2-4FC69831F042}" srcId="{3FA8E52E-41A8-4B79-88F3-ABDEBF17CD17}" destId="{E59C7045-2EF3-4659-8457-FC2DC2C82928}" srcOrd="3" destOrd="0" parTransId="{B0DC9A8E-7A12-4BF0-8A96-882866292D90}" sibTransId="{EBD21BEC-BB3F-4363-BD34-812CD6EAD19C}"/>
    <dgm:cxn modelId="{CBEFB157-E296-4AF9-B054-3EE90D429E38}" srcId="{3FA8E52E-41A8-4B79-88F3-ABDEBF17CD17}" destId="{2758B6C3-6786-4A0A-94BA-3C0B87000D62}" srcOrd="1" destOrd="0" parTransId="{9C577F41-001A-42AE-AABF-54268D15A364}" sibTransId="{0F2659BC-333B-4BFD-B380-C47321237054}"/>
    <dgm:cxn modelId="{6735589E-7958-4478-A682-544A74F36DD1}" type="presOf" srcId="{9C577F41-001A-42AE-AABF-54268D15A364}" destId="{E69AAF95-112D-4CA3-8B25-A2C1AA2BFB20}" srcOrd="0" destOrd="0" presId="urn:microsoft.com/office/officeart/2005/8/layout/orgChart1"/>
    <dgm:cxn modelId="{252D1B6E-132B-4567-ABC0-A8B434415EEB}" type="presOf" srcId="{9EBBB895-7600-4C5C-AD2A-85DBB7813F37}" destId="{61FA1666-3CB0-4FB2-8C4B-E313F9D14383}" srcOrd="0" destOrd="0" presId="urn:microsoft.com/office/officeart/2005/8/layout/orgChart1"/>
    <dgm:cxn modelId="{8F356165-5E30-4ADF-A10D-878DAAE4FEDB}" type="presOf" srcId="{C210B5A7-FC8F-4CFB-888B-78A66105B5E3}" destId="{BBF4301C-272D-4A88-904A-92188D17DA3C}" srcOrd="1" destOrd="0" presId="urn:microsoft.com/office/officeart/2005/8/layout/orgChart1"/>
    <dgm:cxn modelId="{8FF658CC-4985-4CC1-98CA-9A59DB066D1A}" type="presParOf" srcId="{C80C8456-3BBA-45FD-AD23-3C06B4C3CF8C}" destId="{F88D0735-F9A5-4838-BF81-5F41B1860C85}" srcOrd="0" destOrd="0" presId="urn:microsoft.com/office/officeart/2005/8/layout/orgChart1"/>
    <dgm:cxn modelId="{B050EBC7-925A-4CC5-9119-8F1E5B4D3F0A}" type="presParOf" srcId="{F88D0735-F9A5-4838-BF81-5F41B1860C85}" destId="{3AF30B77-46B7-4926-8FDC-1C8E1DF50EF1}" srcOrd="0" destOrd="0" presId="urn:microsoft.com/office/officeart/2005/8/layout/orgChart1"/>
    <dgm:cxn modelId="{EB410034-F916-4B88-9A28-9682DE3CFDD2}" type="presParOf" srcId="{3AF30B77-46B7-4926-8FDC-1C8E1DF50EF1}" destId="{4647B7EA-AC87-4476-9537-D181D7693287}" srcOrd="0" destOrd="0" presId="urn:microsoft.com/office/officeart/2005/8/layout/orgChart1"/>
    <dgm:cxn modelId="{1D51AE78-5FA8-48E6-A36C-9E8EEB1A93DF}" type="presParOf" srcId="{3AF30B77-46B7-4926-8FDC-1C8E1DF50EF1}" destId="{11C8C23B-B493-47C5-9205-B34A41C8E805}" srcOrd="1" destOrd="0" presId="urn:microsoft.com/office/officeart/2005/8/layout/orgChart1"/>
    <dgm:cxn modelId="{1B39A11B-7BCA-42B2-B510-1C2C5C8CD649}" type="presParOf" srcId="{F88D0735-F9A5-4838-BF81-5F41B1860C85}" destId="{6ADA6EB7-E841-4017-AB6F-9758EC075640}" srcOrd="1" destOrd="0" presId="urn:microsoft.com/office/officeart/2005/8/layout/orgChart1"/>
    <dgm:cxn modelId="{EE73EF44-A7E4-4504-9530-CCE5931F9A55}" type="presParOf" srcId="{6ADA6EB7-E841-4017-AB6F-9758EC075640}" destId="{D8734DF8-E79C-44E6-9764-7B2B826E2D1C}" srcOrd="0" destOrd="0" presId="urn:microsoft.com/office/officeart/2005/8/layout/orgChart1"/>
    <dgm:cxn modelId="{E4D7169D-778B-430F-B15B-6EA87A0A13F0}" type="presParOf" srcId="{6ADA6EB7-E841-4017-AB6F-9758EC075640}" destId="{3BF45422-8F93-428C-91EC-E06D9991B6FE}" srcOrd="1" destOrd="0" presId="urn:microsoft.com/office/officeart/2005/8/layout/orgChart1"/>
    <dgm:cxn modelId="{B724C7D2-34B3-4A51-B8A1-93FDEB2CBB3E}" type="presParOf" srcId="{3BF45422-8F93-428C-91EC-E06D9991B6FE}" destId="{8CEB8CCE-8615-474E-83B5-07DDBEFCE369}" srcOrd="0" destOrd="0" presId="urn:microsoft.com/office/officeart/2005/8/layout/orgChart1"/>
    <dgm:cxn modelId="{2128CBF6-7BB0-4313-81EB-D540ACDBC8BC}" type="presParOf" srcId="{8CEB8CCE-8615-474E-83B5-07DDBEFCE369}" destId="{B7CC506E-76AA-4F38-A791-F42D4C7CADF8}" srcOrd="0" destOrd="0" presId="urn:microsoft.com/office/officeart/2005/8/layout/orgChart1"/>
    <dgm:cxn modelId="{962422DE-3343-40F5-967D-D4A9DCA9F7ED}" type="presParOf" srcId="{8CEB8CCE-8615-474E-83B5-07DDBEFCE369}" destId="{9A3B73B8-A734-4DA9-B323-C843A6C97FD7}" srcOrd="1" destOrd="0" presId="urn:microsoft.com/office/officeart/2005/8/layout/orgChart1"/>
    <dgm:cxn modelId="{71A3023F-F503-4758-9CF9-BE2AD5ED384E}" type="presParOf" srcId="{3BF45422-8F93-428C-91EC-E06D9991B6FE}" destId="{EE113FB6-5CEC-4C8E-8E8F-E1126C6E7BAF}" srcOrd="1" destOrd="0" presId="urn:microsoft.com/office/officeart/2005/8/layout/orgChart1"/>
    <dgm:cxn modelId="{14FC45D5-540F-4A0F-B9FE-9F2ED2A4689D}" type="presParOf" srcId="{EE113FB6-5CEC-4C8E-8E8F-E1126C6E7BAF}" destId="{1E6F7728-0201-4A15-AC95-CC7E377B1A72}" srcOrd="0" destOrd="0" presId="urn:microsoft.com/office/officeart/2005/8/layout/orgChart1"/>
    <dgm:cxn modelId="{C383112A-7398-4299-B2E9-1501D08CB59B}" type="presParOf" srcId="{EE113FB6-5CEC-4C8E-8E8F-E1126C6E7BAF}" destId="{FF7C084A-888B-49ED-9D1D-C688AFE06D8A}" srcOrd="1" destOrd="0" presId="urn:microsoft.com/office/officeart/2005/8/layout/orgChart1"/>
    <dgm:cxn modelId="{100370BF-E548-4F44-BC78-F7FF082F0201}" type="presParOf" srcId="{FF7C084A-888B-49ED-9D1D-C688AFE06D8A}" destId="{5B767B2E-DABF-46EA-AA3A-68FBBCE70CEF}" srcOrd="0" destOrd="0" presId="urn:microsoft.com/office/officeart/2005/8/layout/orgChart1"/>
    <dgm:cxn modelId="{2473D2A3-2CAE-42CF-8170-5504C1B8B8FE}" type="presParOf" srcId="{5B767B2E-DABF-46EA-AA3A-68FBBCE70CEF}" destId="{AD2E7CCF-8632-48BA-AB5F-38D672160CB7}" srcOrd="0" destOrd="0" presId="urn:microsoft.com/office/officeart/2005/8/layout/orgChart1"/>
    <dgm:cxn modelId="{30B3C248-2388-4EF7-8698-D8E5FF87E452}" type="presParOf" srcId="{5B767B2E-DABF-46EA-AA3A-68FBBCE70CEF}" destId="{CC4D928E-8FD4-48D7-883D-76404CA06E7E}" srcOrd="1" destOrd="0" presId="urn:microsoft.com/office/officeart/2005/8/layout/orgChart1"/>
    <dgm:cxn modelId="{2E5ED1AC-A206-49C7-9A89-533AA64D1F6B}" type="presParOf" srcId="{FF7C084A-888B-49ED-9D1D-C688AFE06D8A}" destId="{FA32E815-7F22-426A-90B0-8E402FE47375}" srcOrd="1" destOrd="0" presId="urn:microsoft.com/office/officeart/2005/8/layout/orgChart1"/>
    <dgm:cxn modelId="{BBF414EA-4A26-4B80-B6DD-4BA339B282DF}" type="presParOf" srcId="{FF7C084A-888B-49ED-9D1D-C688AFE06D8A}" destId="{18F8BF39-FA26-4730-97B0-68D18375DDD3}" srcOrd="2" destOrd="0" presId="urn:microsoft.com/office/officeart/2005/8/layout/orgChart1"/>
    <dgm:cxn modelId="{082BDB71-DACC-41F1-A714-4C5301CB9578}" type="presParOf" srcId="{EE113FB6-5CEC-4C8E-8E8F-E1126C6E7BAF}" destId="{E69AAF95-112D-4CA3-8B25-A2C1AA2BFB20}" srcOrd="2" destOrd="0" presId="urn:microsoft.com/office/officeart/2005/8/layout/orgChart1"/>
    <dgm:cxn modelId="{EC10C256-7DCC-4DF8-8410-4DB3F6C155BA}" type="presParOf" srcId="{EE113FB6-5CEC-4C8E-8E8F-E1126C6E7BAF}" destId="{80A3AA10-C1FA-471D-A249-6AFB3714DCB8}" srcOrd="3" destOrd="0" presId="urn:microsoft.com/office/officeart/2005/8/layout/orgChart1"/>
    <dgm:cxn modelId="{3D861526-E085-47CC-8732-9EEC996A6072}" type="presParOf" srcId="{80A3AA10-C1FA-471D-A249-6AFB3714DCB8}" destId="{A88FBACF-46A7-4A42-A1E4-BC43DEA31223}" srcOrd="0" destOrd="0" presId="urn:microsoft.com/office/officeart/2005/8/layout/orgChart1"/>
    <dgm:cxn modelId="{6693A6E5-2790-4F4C-9024-6F28FE63EF29}" type="presParOf" srcId="{A88FBACF-46A7-4A42-A1E4-BC43DEA31223}" destId="{3AC870FB-C26A-455D-A787-26FB8A768500}" srcOrd="0" destOrd="0" presId="urn:microsoft.com/office/officeart/2005/8/layout/orgChart1"/>
    <dgm:cxn modelId="{FB60936D-6656-4B30-8F9F-00EA7E40057E}" type="presParOf" srcId="{A88FBACF-46A7-4A42-A1E4-BC43DEA31223}" destId="{E350FF0A-3899-4666-BFBB-4391AE4ED83D}" srcOrd="1" destOrd="0" presId="urn:microsoft.com/office/officeart/2005/8/layout/orgChart1"/>
    <dgm:cxn modelId="{25950338-7BBB-4FAA-A636-123707B1E2F0}" type="presParOf" srcId="{80A3AA10-C1FA-471D-A249-6AFB3714DCB8}" destId="{85CF59DE-9063-4A6A-825C-7A44436C0528}" srcOrd="1" destOrd="0" presId="urn:microsoft.com/office/officeart/2005/8/layout/orgChart1"/>
    <dgm:cxn modelId="{255EDBDD-7CCD-4C34-9F9B-046390569B68}" type="presParOf" srcId="{80A3AA10-C1FA-471D-A249-6AFB3714DCB8}" destId="{9C2EBD5A-543C-42FB-A080-47829399EF4A}" srcOrd="2" destOrd="0" presId="urn:microsoft.com/office/officeart/2005/8/layout/orgChart1"/>
    <dgm:cxn modelId="{B49DFCEA-E8BB-4021-B87F-5C6AA693DC78}" type="presParOf" srcId="{EE113FB6-5CEC-4C8E-8E8F-E1126C6E7BAF}" destId="{8912F301-E950-4E0C-B146-0A5185F9A67F}" srcOrd="4" destOrd="0" presId="urn:microsoft.com/office/officeart/2005/8/layout/orgChart1"/>
    <dgm:cxn modelId="{4296E4E1-7F0C-4811-B0FC-C4B2A47ABFEB}" type="presParOf" srcId="{EE113FB6-5CEC-4C8E-8E8F-E1126C6E7BAF}" destId="{834BCB6B-E703-4F1D-921C-98C1AA78C974}" srcOrd="5" destOrd="0" presId="urn:microsoft.com/office/officeart/2005/8/layout/orgChart1"/>
    <dgm:cxn modelId="{95B221DA-061B-434E-BE5D-A01356A8BD53}" type="presParOf" srcId="{834BCB6B-E703-4F1D-921C-98C1AA78C974}" destId="{AF158338-D549-4974-9E57-FC481999E22C}" srcOrd="0" destOrd="0" presId="urn:microsoft.com/office/officeart/2005/8/layout/orgChart1"/>
    <dgm:cxn modelId="{6A36C01E-8D25-4586-8A90-E08A2DCDC860}" type="presParOf" srcId="{AF158338-D549-4974-9E57-FC481999E22C}" destId="{68F9805C-8CAE-4938-9623-6375F921F333}" srcOrd="0" destOrd="0" presId="urn:microsoft.com/office/officeart/2005/8/layout/orgChart1"/>
    <dgm:cxn modelId="{39DF2556-DA8D-4408-B9CE-E0F4020A7832}" type="presParOf" srcId="{AF158338-D549-4974-9E57-FC481999E22C}" destId="{EED161AF-40AD-43B2-8B46-38DF36ECA8B3}" srcOrd="1" destOrd="0" presId="urn:microsoft.com/office/officeart/2005/8/layout/orgChart1"/>
    <dgm:cxn modelId="{00DAA003-355A-46A2-B1A8-052FFC63ECBC}" type="presParOf" srcId="{834BCB6B-E703-4F1D-921C-98C1AA78C974}" destId="{A48F0EED-10B4-43B4-8314-E035F4FF4276}" srcOrd="1" destOrd="0" presId="urn:microsoft.com/office/officeart/2005/8/layout/orgChart1"/>
    <dgm:cxn modelId="{E828004B-DA4E-4AC1-B774-620D60ED1A7B}" type="presParOf" srcId="{834BCB6B-E703-4F1D-921C-98C1AA78C974}" destId="{E10B221C-A66C-4977-B1B3-3DB40C85D802}" srcOrd="2" destOrd="0" presId="urn:microsoft.com/office/officeart/2005/8/layout/orgChart1"/>
    <dgm:cxn modelId="{77C71CC6-682E-40B1-8B85-1552CFE2C51E}" type="presParOf" srcId="{EE113FB6-5CEC-4C8E-8E8F-E1126C6E7BAF}" destId="{59553AB9-15C6-41A5-86D0-0A8B70218E8B}" srcOrd="6" destOrd="0" presId="urn:microsoft.com/office/officeart/2005/8/layout/orgChart1"/>
    <dgm:cxn modelId="{115DA34C-1F6C-4582-972C-F929CE13D1F6}" type="presParOf" srcId="{EE113FB6-5CEC-4C8E-8E8F-E1126C6E7BAF}" destId="{B52134F1-1856-4C86-A778-3A7D191FACBC}" srcOrd="7" destOrd="0" presId="urn:microsoft.com/office/officeart/2005/8/layout/orgChart1"/>
    <dgm:cxn modelId="{6B84933F-560B-47C2-A120-08DBDA773046}" type="presParOf" srcId="{B52134F1-1856-4C86-A778-3A7D191FACBC}" destId="{0B4A54DC-C4AF-4F2B-9936-BD4F6AA0CF52}" srcOrd="0" destOrd="0" presId="urn:microsoft.com/office/officeart/2005/8/layout/orgChart1"/>
    <dgm:cxn modelId="{5645894E-4EAD-4BFA-A3AB-E166DE3E939B}" type="presParOf" srcId="{0B4A54DC-C4AF-4F2B-9936-BD4F6AA0CF52}" destId="{61B4AA93-0842-4D55-B889-C5D4706F273C}" srcOrd="0" destOrd="0" presId="urn:microsoft.com/office/officeart/2005/8/layout/orgChart1"/>
    <dgm:cxn modelId="{ADEB61BE-FF81-43AE-87BA-1A17B52D9767}" type="presParOf" srcId="{0B4A54DC-C4AF-4F2B-9936-BD4F6AA0CF52}" destId="{E846EEA4-3606-4E73-993D-7A44D043C02F}" srcOrd="1" destOrd="0" presId="urn:microsoft.com/office/officeart/2005/8/layout/orgChart1"/>
    <dgm:cxn modelId="{1D202A59-FFCE-42C8-B3E4-84F68F716340}" type="presParOf" srcId="{B52134F1-1856-4C86-A778-3A7D191FACBC}" destId="{2FA24229-AE3F-44B6-8627-7B111FEBB73B}" srcOrd="1" destOrd="0" presId="urn:microsoft.com/office/officeart/2005/8/layout/orgChart1"/>
    <dgm:cxn modelId="{80461399-B115-410C-B9DA-ABB0F0629981}" type="presParOf" srcId="{B52134F1-1856-4C86-A778-3A7D191FACBC}" destId="{CC4B2863-8354-4EE9-8135-BEA83B40949F}" srcOrd="2" destOrd="0" presId="urn:microsoft.com/office/officeart/2005/8/layout/orgChart1"/>
    <dgm:cxn modelId="{183DD5BB-6506-422C-8E0C-8EA4ADBED66F}" type="presParOf" srcId="{EE113FB6-5CEC-4C8E-8E8F-E1126C6E7BAF}" destId="{E2C6E8CA-49E0-4ED9-8590-8C6DE8D745C9}" srcOrd="8" destOrd="0" presId="urn:microsoft.com/office/officeart/2005/8/layout/orgChart1"/>
    <dgm:cxn modelId="{68FDB209-31B4-4B69-9991-C0CBC0FB4228}" type="presParOf" srcId="{EE113FB6-5CEC-4C8E-8E8F-E1126C6E7BAF}" destId="{0D50DA4F-9586-41F2-91B6-BC19DB900CA3}" srcOrd="9" destOrd="0" presId="urn:microsoft.com/office/officeart/2005/8/layout/orgChart1"/>
    <dgm:cxn modelId="{B8BFA0B1-3D11-46AF-8393-A7ED1933D45D}" type="presParOf" srcId="{0D50DA4F-9586-41F2-91B6-BC19DB900CA3}" destId="{9CCCE715-3EF9-48A9-BC41-62EC08586110}" srcOrd="0" destOrd="0" presId="urn:microsoft.com/office/officeart/2005/8/layout/orgChart1"/>
    <dgm:cxn modelId="{46DFBDBA-8E0A-47EA-9849-A0849697D47C}" type="presParOf" srcId="{9CCCE715-3EF9-48A9-BC41-62EC08586110}" destId="{3D806196-A09E-42B6-89DA-5DE151B649CC}" srcOrd="0" destOrd="0" presId="urn:microsoft.com/office/officeart/2005/8/layout/orgChart1"/>
    <dgm:cxn modelId="{6B0302DF-38BA-4B2C-B68F-C858898A8FC1}" type="presParOf" srcId="{9CCCE715-3EF9-48A9-BC41-62EC08586110}" destId="{267C9922-0B84-4AEE-9817-7077676D94D7}" srcOrd="1" destOrd="0" presId="urn:microsoft.com/office/officeart/2005/8/layout/orgChart1"/>
    <dgm:cxn modelId="{59EA273E-E4FF-4658-B863-E4C4E7B9D48D}" type="presParOf" srcId="{0D50DA4F-9586-41F2-91B6-BC19DB900CA3}" destId="{99A7B307-B6C1-45CF-A195-50D3AFA0DFD9}" srcOrd="1" destOrd="0" presId="urn:microsoft.com/office/officeart/2005/8/layout/orgChart1"/>
    <dgm:cxn modelId="{86DC4C41-5CFB-45B6-A678-067659F07A98}" type="presParOf" srcId="{0D50DA4F-9586-41F2-91B6-BC19DB900CA3}" destId="{89B5850F-0E35-45C4-8339-C0B5560752D2}" srcOrd="2" destOrd="0" presId="urn:microsoft.com/office/officeart/2005/8/layout/orgChart1"/>
    <dgm:cxn modelId="{7E2EE253-17D7-4C1F-873E-16E22BE8E0A9}" type="presParOf" srcId="{EE113FB6-5CEC-4C8E-8E8F-E1126C6E7BAF}" destId="{EB7A51C9-2A3B-4023-940F-7A577F808009}" srcOrd="10" destOrd="0" presId="urn:microsoft.com/office/officeart/2005/8/layout/orgChart1"/>
    <dgm:cxn modelId="{DE1B1A5D-DEAA-4B30-9A7C-6DD2B4DC60C3}" type="presParOf" srcId="{EE113FB6-5CEC-4C8E-8E8F-E1126C6E7BAF}" destId="{246507F2-0C22-4B24-A251-2A3228A61CE7}" srcOrd="11" destOrd="0" presId="urn:microsoft.com/office/officeart/2005/8/layout/orgChart1"/>
    <dgm:cxn modelId="{F6E61A45-2F37-496A-BFBF-0B050B42187D}" type="presParOf" srcId="{246507F2-0C22-4B24-A251-2A3228A61CE7}" destId="{D77675F7-B28C-4D4B-84E1-B4DD449ADF02}" srcOrd="0" destOrd="0" presId="urn:microsoft.com/office/officeart/2005/8/layout/orgChart1"/>
    <dgm:cxn modelId="{0E9FF579-96E3-4312-9D1C-1FAAD735F19D}" type="presParOf" srcId="{D77675F7-B28C-4D4B-84E1-B4DD449ADF02}" destId="{4C1F4693-C8EA-4D49-A3D3-8D6D9A6A79CE}" srcOrd="0" destOrd="0" presId="urn:microsoft.com/office/officeart/2005/8/layout/orgChart1"/>
    <dgm:cxn modelId="{E0068500-424F-4FE4-9276-5FB6D0E863D8}" type="presParOf" srcId="{D77675F7-B28C-4D4B-84E1-B4DD449ADF02}" destId="{6FCF4D04-EFDA-413E-8BA0-F4AD778E5115}" srcOrd="1" destOrd="0" presId="urn:microsoft.com/office/officeart/2005/8/layout/orgChart1"/>
    <dgm:cxn modelId="{4DC8102B-63F4-487B-83C3-6EA70A45D450}" type="presParOf" srcId="{246507F2-0C22-4B24-A251-2A3228A61CE7}" destId="{A0FB8380-7C63-4614-AC2A-5B0EBE61DAFD}" srcOrd="1" destOrd="0" presId="urn:microsoft.com/office/officeart/2005/8/layout/orgChart1"/>
    <dgm:cxn modelId="{C260EB73-F763-4A64-9F66-F3583D3A4CB8}" type="presParOf" srcId="{246507F2-0C22-4B24-A251-2A3228A61CE7}" destId="{CAB8D789-09E7-436B-8A7E-FA0CCF8BC7DA}" srcOrd="2" destOrd="0" presId="urn:microsoft.com/office/officeart/2005/8/layout/orgChart1"/>
    <dgm:cxn modelId="{A4117405-A28D-4819-82C2-AC8A6C2F837F}" type="presParOf" srcId="{3BF45422-8F93-428C-91EC-E06D9991B6FE}" destId="{CDD23DDC-118A-4A96-B6A6-9F156A5E2A9D}" srcOrd="2" destOrd="0" presId="urn:microsoft.com/office/officeart/2005/8/layout/orgChart1"/>
    <dgm:cxn modelId="{7EB7E03A-98E7-46D7-81B2-ED2084587727}" type="presParOf" srcId="{6ADA6EB7-E841-4017-AB6F-9758EC075640}" destId="{16194040-5E60-434D-BF92-83FD3BBE53B9}" srcOrd="2" destOrd="0" presId="urn:microsoft.com/office/officeart/2005/8/layout/orgChart1"/>
    <dgm:cxn modelId="{97D0D42C-7986-4E40-8CA5-264663279722}" type="presParOf" srcId="{6ADA6EB7-E841-4017-AB6F-9758EC075640}" destId="{9737D7A7-63F3-48BF-9933-04C5C8E1822C}" srcOrd="3" destOrd="0" presId="urn:microsoft.com/office/officeart/2005/8/layout/orgChart1"/>
    <dgm:cxn modelId="{DFACE83A-5119-478A-8031-00B1300D65FA}" type="presParOf" srcId="{9737D7A7-63F3-48BF-9933-04C5C8E1822C}" destId="{A972BEBF-FC6A-4D64-AD40-05A77994A454}" srcOrd="0" destOrd="0" presId="urn:microsoft.com/office/officeart/2005/8/layout/orgChart1"/>
    <dgm:cxn modelId="{6236761F-C7AF-4F01-BDB9-E68EDA0FD8E0}" type="presParOf" srcId="{A972BEBF-FC6A-4D64-AD40-05A77994A454}" destId="{C633A689-B769-440B-A61E-472B58BC51D4}" srcOrd="0" destOrd="0" presId="urn:microsoft.com/office/officeart/2005/8/layout/orgChart1"/>
    <dgm:cxn modelId="{251F95A2-09EE-421D-ABC8-90681B9DCBCA}" type="presParOf" srcId="{A972BEBF-FC6A-4D64-AD40-05A77994A454}" destId="{BBF4301C-272D-4A88-904A-92188D17DA3C}" srcOrd="1" destOrd="0" presId="urn:microsoft.com/office/officeart/2005/8/layout/orgChart1"/>
    <dgm:cxn modelId="{84B4C7E6-5480-4B83-BD15-C0CD89FCEC19}" type="presParOf" srcId="{9737D7A7-63F3-48BF-9933-04C5C8E1822C}" destId="{D9FC4B45-3F3E-44FD-BCD4-EE579804DF83}" srcOrd="1" destOrd="0" presId="urn:microsoft.com/office/officeart/2005/8/layout/orgChart1"/>
    <dgm:cxn modelId="{A9029ECE-B9A6-4B79-92B6-DC500C7A0503}" type="presParOf" srcId="{D9FC4B45-3F3E-44FD-BCD4-EE579804DF83}" destId="{C981F861-5079-4644-BDF7-785B038AC3AD}" srcOrd="0" destOrd="0" presId="urn:microsoft.com/office/officeart/2005/8/layout/orgChart1"/>
    <dgm:cxn modelId="{E0E0287F-47E5-415B-9444-FE37A0905123}" type="presParOf" srcId="{D9FC4B45-3F3E-44FD-BCD4-EE579804DF83}" destId="{BEBCB5B0-E952-4A7B-B366-2BD915D026FA}" srcOrd="1" destOrd="0" presId="urn:microsoft.com/office/officeart/2005/8/layout/orgChart1"/>
    <dgm:cxn modelId="{0FD2CCD9-5718-46B5-B511-E99FD7EBFF43}" type="presParOf" srcId="{BEBCB5B0-E952-4A7B-B366-2BD915D026FA}" destId="{45EF025C-4C3D-4E6F-84F2-3559FBE2A839}" srcOrd="0" destOrd="0" presId="urn:microsoft.com/office/officeart/2005/8/layout/orgChart1"/>
    <dgm:cxn modelId="{93872C17-3591-4B7B-A5B4-310E0F547EB3}" type="presParOf" srcId="{45EF025C-4C3D-4E6F-84F2-3559FBE2A839}" destId="{C52F6E7A-06EB-4ED7-9448-A059B6929A94}" srcOrd="0" destOrd="0" presId="urn:microsoft.com/office/officeart/2005/8/layout/orgChart1"/>
    <dgm:cxn modelId="{5148590D-A8DF-4FDA-8928-1620DC721180}" type="presParOf" srcId="{45EF025C-4C3D-4E6F-84F2-3559FBE2A839}" destId="{A0C33D3F-A411-47FC-90AA-856B0B304567}" srcOrd="1" destOrd="0" presId="urn:microsoft.com/office/officeart/2005/8/layout/orgChart1"/>
    <dgm:cxn modelId="{EB1ECFA6-14DA-454F-A228-2BBF5C2C6472}" type="presParOf" srcId="{BEBCB5B0-E952-4A7B-B366-2BD915D026FA}" destId="{A7254F57-CE6A-451A-8333-3E530B873865}" srcOrd="1" destOrd="0" presId="urn:microsoft.com/office/officeart/2005/8/layout/orgChart1"/>
    <dgm:cxn modelId="{41FDFECA-14E9-4455-9F98-DAD2BABCC551}" type="presParOf" srcId="{BEBCB5B0-E952-4A7B-B366-2BD915D026FA}" destId="{C4BDD475-7121-4C22-874C-C1A929C08BF4}" srcOrd="2" destOrd="0" presId="urn:microsoft.com/office/officeart/2005/8/layout/orgChart1"/>
    <dgm:cxn modelId="{44F76D83-ABB3-4D12-A8D4-8BD0BD47C621}" type="presParOf" srcId="{D9FC4B45-3F3E-44FD-BCD4-EE579804DF83}" destId="{DE8D8668-96E8-4FBC-8F48-E04927E8AF75}" srcOrd="2" destOrd="0" presId="urn:microsoft.com/office/officeart/2005/8/layout/orgChart1"/>
    <dgm:cxn modelId="{FF400DFF-E089-4E2B-A497-B169729FECCE}" type="presParOf" srcId="{D9FC4B45-3F3E-44FD-BCD4-EE579804DF83}" destId="{88FB0867-D1E0-45B1-BB04-D32B49A053A3}" srcOrd="3" destOrd="0" presId="urn:microsoft.com/office/officeart/2005/8/layout/orgChart1"/>
    <dgm:cxn modelId="{F72B5663-4237-4951-92F6-6281FDEC692A}" type="presParOf" srcId="{88FB0867-D1E0-45B1-BB04-D32B49A053A3}" destId="{BFD5BFA4-C2BA-484A-BD28-7C2D992780AE}" srcOrd="0" destOrd="0" presId="urn:microsoft.com/office/officeart/2005/8/layout/orgChart1"/>
    <dgm:cxn modelId="{4F7CB3DA-A163-4190-AFBF-1C8E8B92C3A8}" type="presParOf" srcId="{BFD5BFA4-C2BA-484A-BD28-7C2D992780AE}" destId="{FA874DA8-4D76-40E4-B03F-68097D2BD076}" srcOrd="0" destOrd="0" presId="urn:microsoft.com/office/officeart/2005/8/layout/orgChart1"/>
    <dgm:cxn modelId="{BF223CBD-BD67-4F23-97C8-27EFA9D5BDC1}" type="presParOf" srcId="{BFD5BFA4-C2BA-484A-BD28-7C2D992780AE}" destId="{F613A01D-7200-4858-BD85-9D67C40E7C98}" srcOrd="1" destOrd="0" presId="urn:microsoft.com/office/officeart/2005/8/layout/orgChart1"/>
    <dgm:cxn modelId="{486A2946-6987-4087-961E-AA431C3E8896}" type="presParOf" srcId="{88FB0867-D1E0-45B1-BB04-D32B49A053A3}" destId="{D17AC95D-A425-4D2A-BCE1-F8871780ECC2}" srcOrd="1" destOrd="0" presId="urn:microsoft.com/office/officeart/2005/8/layout/orgChart1"/>
    <dgm:cxn modelId="{0385A386-C97C-46D0-AC70-AE6DD954049E}" type="presParOf" srcId="{88FB0867-D1E0-45B1-BB04-D32B49A053A3}" destId="{26B3467B-C8EA-4D03-9045-021F1A08FBFD}" srcOrd="2" destOrd="0" presId="urn:microsoft.com/office/officeart/2005/8/layout/orgChart1"/>
    <dgm:cxn modelId="{D622229F-582D-4750-B77D-4D1145C6B1AF}" type="presParOf" srcId="{D9FC4B45-3F3E-44FD-BCD4-EE579804DF83}" destId="{DF2A5BDB-731B-4743-8645-30CC461A515D}" srcOrd="4" destOrd="0" presId="urn:microsoft.com/office/officeart/2005/8/layout/orgChart1"/>
    <dgm:cxn modelId="{7E0CF663-9A1A-4F42-B1AA-7A1A826FA4D0}" type="presParOf" srcId="{D9FC4B45-3F3E-44FD-BCD4-EE579804DF83}" destId="{F222851E-2C4A-438E-84CC-EEBEF9673ED1}" srcOrd="5" destOrd="0" presId="urn:microsoft.com/office/officeart/2005/8/layout/orgChart1"/>
    <dgm:cxn modelId="{D4C2149A-E16C-4384-A92B-081A427F8014}" type="presParOf" srcId="{F222851E-2C4A-438E-84CC-EEBEF9673ED1}" destId="{2FA5E372-4952-48CE-9BF7-15A2B7F76045}" srcOrd="0" destOrd="0" presId="urn:microsoft.com/office/officeart/2005/8/layout/orgChart1"/>
    <dgm:cxn modelId="{AB4E1167-49C1-449C-A8B3-F6C86843AEAA}" type="presParOf" srcId="{2FA5E372-4952-48CE-9BF7-15A2B7F76045}" destId="{04410A4D-7DCC-4946-8471-DFD4EE5F71CD}" srcOrd="0" destOrd="0" presId="urn:microsoft.com/office/officeart/2005/8/layout/orgChart1"/>
    <dgm:cxn modelId="{E4453107-5B39-47F2-8453-BBA2F930BD33}" type="presParOf" srcId="{2FA5E372-4952-48CE-9BF7-15A2B7F76045}" destId="{9D907A16-BA97-49F7-A8E0-04EB9E2BF3A6}" srcOrd="1" destOrd="0" presId="urn:microsoft.com/office/officeart/2005/8/layout/orgChart1"/>
    <dgm:cxn modelId="{2509663C-99D4-4D1E-B857-64E2929E7A77}" type="presParOf" srcId="{F222851E-2C4A-438E-84CC-EEBEF9673ED1}" destId="{A90F16CA-A95E-41A3-B02F-4344A4FB0D74}" srcOrd="1" destOrd="0" presId="urn:microsoft.com/office/officeart/2005/8/layout/orgChart1"/>
    <dgm:cxn modelId="{8CA9B8D1-608B-4BE9-A7DD-262DDB36101E}" type="presParOf" srcId="{F222851E-2C4A-438E-84CC-EEBEF9673ED1}" destId="{C4475F51-E6C7-4F33-810C-B97B00BA8D02}" srcOrd="2" destOrd="0" presId="urn:microsoft.com/office/officeart/2005/8/layout/orgChart1"/>
    <dgm:cxn modelId="{7F1E496D-11C3-44FA-9E4B-BD0CE7F4C4DD}" type="presParOf" srcId="{D9FC4B45-3F3E-44FD-BCD4-EE579804DF83}" destId="{B743BF5E-8E74-4AA4-AF77-FEB591727596}" srcOrd="6" destOrd="0" presId="urn:microsoft.com/office/officeart/2005/8/layout/orgChart1"/>
    <dgm:cxn modelId="{562D6F85-F3E3-4CD5-B27F-9818E3523B4A}" type="presParOf" srcId="{D9FC4B45-3F3E-44FD-BCD4-EE579804DF83}" destId="{CD5184F5-D5F6-46CC-97B3-EBCFD5902623}" srcOrd="7" destOrd="0" presId="urn:microsoft.com/office/officeart/2005/8/layout/orgChart1"/>
    <dgm:cxn modelId="{82A43FF1-9E41-4A97-9D12-DA447B1E5576}" type="presParOf" srcId="{CD5184F5-D5F6-46CC-97B3-EBCFD5902623}" destId="{C56F44D4-5F14-493A-BE16-DF4F2EFE43BF}" srcOrd="0" destOrd="0" presId="urn:microsoft.com/office/officeart/2005/8/layout/orgChart1"/>
    <dgm:cxn modelId="{C95C5EC8-811D-4186-9021-24F82DA027BA}" type="presParOf" srcId="{C56F44D4-5F14-493A-BE16-DF4F2EFE43BF}" destId="{0E40AEC0-2671-423A-8A47-DC6E1E2C8277}" srcOrd="0" destOrd="0" presId="urn:microsoft.com/office/officeart/2005/8/layout/orgChart1"/>
    <dgm:cxn modelId="{A9877665-2A81-4BCE-903F-BF870E2B1DEA}" type="presParOf" srcId="{C56F44D4-5F14-493A-BE16-DF4F2EFE43BF}" destId="{0415C0B4-BF22-4E0A-9719-027F6097DCDD}" srcOrd="1" destOrd="0" presId="urn:microsoft.com/office/officeart/2005/8/layout/orgChart1"/>
    <dgm:cxn modelId="{38D873FC-C372-4DAE-A070-398E379CBCE0}" type="presParOf" srcId="{CD5184F5-D5F6-46CC-97B3-EBCFD5902623}" destId="{0C0E6B72-C126-415D-880A-22C7AC233C4C}" srcOrd="1" destOrd="0" presId="urn:microsoft.com/office/officeart/2005/8/layout/orgChart1"/>
    <dgm:cxn modelId="{0BEAA3A8-DFBA-4E84-863D-0BE3873CA41A}" type="presParOf" srcId="{CD5184F5-D5F6-46CC-97B3-EBCFD5902623}" destId="{614B6606-92CC-4D97-B498-7B815EFFBAE7}" srcOrd="2" destOrd="0" presId="urn:microsoft.com/office/officeart/2005/8/layout/orgChart1"/>
    <dgm:cxn modelId="{E53D78B9-EA0A-40A2-8CC1-C01A44A578E5}" type="presParOf" srcId="{D9FC4B45-3F3E-44FD-BCD4-EE579804DF83}" destId="{6B9BB72C-C16E-4812-A426-8736B0F4D50D}" srcOrd="8" destOrd="0" presId="urn:microsoft.com/office/officeart/2005/8/layout/orgChart1"/>
    <dgm:cxn modelId="{748B6E88-5A0D-4EE8-911F-15FD57E87EE1}" type="presParOf" srcId="{D9FC4B45-3F3E-44FD-BCD4-EE579804DF83}" destId="{F96F047D-A9FC-4FF5-A8C1-941933C779B4}" srcOrd="9" destOrd="0" presId="urn:microsoft.com/office/officeart/2005/8/layout/orgChart1"/>
    <dgm:cxn modelId="{AAC514E6-650D-4FAB-938C-0657D306D7FC}" type="presParOf" srcId="{F96F047D-A9FC-4FF5-A8C1-941933C779B4}" destId="{045801E2-3B02-4A8F-9585-6867B7DD31BC}" srcOrd="0" destOrd="0" presId="urn:microsoft.com/office/officeart/2005/8/layout/orgChart1"/>
    <dgm:cxn modelId="{2BD41B06-C203-475E-B820-544F561164E4}" type="presParOf" srcId="{045801E2-3B02-4A8F-9585-6867B7DD31BC}" destId="{EA59485D-2E2F-42CB-B81B-A0E1E3EA3A1C}" srcOrd="0" destOrd="0" presId="urn:microsoft.com/office/officeart/2005/8/layout/orgChart1"/>
    <dgm:cxn modelId="{F287FF9C-4D3B-43DB-81E9-3D43C66B3486}" type="presParOf" srcId="{045801E2-3B02-4A8F-9585-6867B7DD31BC}" destId="{3C113E1E-FE54-4128-B244-37B8276C710C}" srcOrd="1" destOrd="0" presId="urn:microsoft.com/office/officeart/2005/8/layout/orgChart1"/>
    <dgm:cxn modelId="{BA31FAE0-507D-4066-9498-8620B2798026}" type="presParOf" srcId="{F96F047D-A9FC-4FF5-A8C1-941933C779B4}" destId="{94918608-EE8D-46B0-BBEE-532A885864C4}" srcOrd="1" destOrd="0" presId="urn:microsoft.com/office/officeart/2005/8/layout/orgChart1"/>
    <dgm:cxn modelId="{A7C6830E-6043-4B87-B4B5-A048B7F2FA47}" type="presParOf" srcId="{F96F047D-A9FC-4FF5-A8C1-941933C779B4}" destId="{0351236A-BFB1-48C2-9E8E-AB3FA5B6820D}" srcOrd="2" destOrd="0" presId="urn:microsoft.com/office/officeart/2005/8/layout/orgChart1"/>
    <dgm:cxn modelId="{C08295FF-A80D-4A38-B7E3-C5F8763D8C12}" type="presParOf" srcId="{D9FC4B45-3F3E-44FD-BCD4-EE579804DF83}" destId="{36BF8A7A-9D89-41C0-8B99-0645BE0B5C9B}" srcOrd="10" destOrd="0" presId="urn:microsoft.com/office/officeart/2005/8/layout/orgChart1"/>
    <dgm:cxn modelId="{169D92BB-E96D-4C11-9A9B-3920CC25DA59}" type="presParOf" srcId="{D9FC4B45-3F3E-44FD-BCD4-EE579804DF83}" destId="{38485F78-C0C3-43BA-9E36-BF58157B13ED}" srcOrd="11" destOrd="0" presId="urn:microsoft.com/office/officeart/2005/8/layout/orgChart1"/>
    <dgm:cxn modelId="{C208DAC5-B0CD-4F54-832D-80371C7C5C4F}" type="presParOf" srcId="{38485F78-C0C3-43BA-9E36-BF58157B13ED}" destId="{7D166BD7-9271-4007-8979-6A6AC379B8BB}" srcOrd="0" destOrd="0" presId="urn:microsoft.com/office/officeart/2005/8/layout/orgChart1"/>
    <dgm:cxn modelId="{8C0884E1-B72D-44CE-BA34-1C1E8745615F}" type="presParOf" srcId="{7D166BD7-9271-4007-8979-6A6AC379B8BB}" destId="{69577400-3728-444D-96E5-E59C84094316}" srcOrd="0" destOrd="0" presId="urn:microsoft.com/office/officeart/2005/8/layout/orgChart1"/>
    <dgm:cxn modelId="{172FC74B-0E76-463E-8151-BA0554D446BE}" type="presParOf" srcId="{7D166BD7-9271-4007-8979-6A6AC379B8BB}" destId="{BAABFAAE-EC69-4E1F-B78D-D84BCDA0D6AD}" srcOrd="1" destOrd="0" presId="urn:microsoft.com/office/officeart/2005/8/layout/orgChart1"/>
    <dgm:cxn modelId="{12C757FC-FA23-4C1C-9172-FE1C3DB63154}" type="presParOf" srcId="{38485F78-C0C3-43BA-9E36-BF58157B13ED}" destId="{BAF3FA39-621A-4DE6-9C1B-81F51A563D85}" srcOrd="1" destOrd="0" presId="urn:microsoft.com/office/officeart/2005/8/layout/orgChart1"/>
    <dgm:cxn modelId="{453C5372-0E9F-424F-A6D5-CD0CC00C8179}" type="presParOf" srcId="{38485F78-C0C3-43BA-9E36-BF58157B13ED}" destId="{B2F783A7-FEDE-4B91-A083-2D03DD6B5A32}" srcOrd="2" destOrd="0" presId="urn:microsoft.com/office/officeart/2005/8/layout/orgChart1"/>
    <dgm:cxn modelId="{799C3C5A-F071-46BE-B4E9-93996F5A7DAD}" type="presParOf" srcId="{D9FC4B45-3F3E-44FD-BCD4-EE579804DF83}" destId="{EDD6B248-4CEB-4654-9033-ED2BD107A221}" srcOrd="12" destOrd="0" presId="urn:microsoft.com/office/officeart/2005/8/layout/orgChart1"/>
    <dgm:cxn modelId="{E2D8E9F5-A835-4F26-BA73-45F9D8DB71F4}" type="presParOf" srcId="{D9FC4B45-3F3E-44FD-BCD4-EE579804DF83}" destId="{F59716A7-2858-4185-A535-D6A46C708F35}" srcOrd="13" destOrd="0" presId="urn:microsoft.com/office/officeart/2005/8/layout/orgChart1"/>
    <dgm:cxn modelId="{DCA788AF-922C-4C7F-AE09-6D165F68FCF5}" type="presParOf" srcId="{F59716A7-2858-4185-A535-D6A46C708F35}" destId="{3D357C93-C264-4972-9671-30636AA2D4E6}" srcOrd="0" destOrd="0" presId="urn:microsoft.com/office/officeart/2005/8/layout/orgChart1"/>
    <dgm:cxn modelId="{358BE9A8-5E3E-4A24-84E7-3BC3F3DF61A8}" type="presParOf" srcId="{3D357C93-C264-4972-9671-30636AA2D4E6}" destId="{830D38BF-6282-47C5-BAC0-DF00893C467F}" srcOrd="0" destOrd="0" presId="urn:microsoft.com/office/officeart/2005/8/layout/orgChart1"/>
    <dgm:cxn modelId="{89D9B4EA-C15C-4B99-AD9A-681ED4AAE877}" type="presParOf" srcId="{3D357C93-C264-4972-9671-30636AA2D4E6}" destId="{50DD9E39-4F50-40C5-BD65-39D9CA175641}" srcOrd="1" destOrd="0" presId="urn:microsoft.com/office/officeart/2005/8/layout/orgChart1"/>
    <dgm:cxn modelId="{E942018C-04D1-421E-8350-79EE09ECF581}" type="presParOf" srcId="{F59716A7-2858-4185-A535-D6A46C708F35}" destId="{0CC16348-B4E0-4B13-985D-E52B186059EA}" srcOrd="1" destOrd="0" presId="urn:microsoft.com/office/officeart/2005/8/layout/orgChart1"/>
    <dgm:cxn modelId="{049E521D-77D7-4604-9E7B-AE95FC844340}" type="presParOf" srcId="{F59716A7-2858-4185-A535-D6A46C708F35}" destId="{1D324484-253B-48C3-8F38-36D2065AE951}" srcOrd="2" destOrd="0" presId="urn:microsoft.com/office/officeart/2005/8/layout/orgChart1"/>
    <dgm:cxn modelId="{74807842-469D-4958-BFC5-7259A28732FF}" type="presParOf" srcId="{D9FC4B45-3F3E-44FD-BCD4-EE579804DF83}" destId="{5FAD3576-45D6-41B4-8CB0-E188125E4354}" srcOrd="14" destOrd="0" presId="urn:microsoft.com/office/officeart/2005/8/layout/orgChart1"/>
    <dgm:cxn modelId="{BB333958-FC76-4B8E-8414-DE942E4C70EE}" type="presParOf" srcId="{D9FC4B45-3F3E-44FD-BCD4-EE579804DF83}" destId="{FD64AC5D-3B06-4EF8-93BA-4CCDB222F53A}" srcOrd="15" destOrd="0" presId="urn:microsoft.com/office/officeart/2005/8/layout/orgChart1"/>
    <dgm:cxn modelId="{6191EDBB-2821-4842-BF65-0D0720B4B527}" type="presParOf" srcId="{FD64AC5D-3B06-4EF8-93BA-4CCDB222F53A}" destId="{DC936B57-C0BC-40EC-9903-C1566FD66FA2}" srcOrd="0" destOrd="0" presId="urn:microsoft.com/office/officeart/2005/8/layout/orgChart1"/>
    <dgm:cxn modelId="{6CB69F6C-0831-4C27-ABEE-9683A2E8ADC7}" type="presParOf" srcId="{DC936B57-C0BC-40EC-9903-C1566FD66FA2}" destId="{FCD4C20C-521F-4545-939A-8A7799913E93}" srcOrd="0" destOrd="0" presId="urn:microsoft.com/office/officeart/2005/8/layout/orgChart1"/>
    <dgm:cxn modelId="{D92F9FA4-D805-4582-A19F-EAC874B7E7AD}" type="presParOf" srcId="{DC936B57-C0BC-40EC-9903-C1566FD66FA2}" destId="{7095D4F8-1C8A-4F9A-9B63-236944966ED1}" srcOrd="1" destOrd="0" presId="urn:microsoft.com/office/officeart/2005/8/layout/orgChart1"/>
    <dgm:cxn modelId="{2640CADF-91F0-41C1-AC1A-FC555BCB6BB2}" type="presParOf" srcId="{FD64AC5D-3B06-4EF8-93BA-4CCDB222F53A}" destId="{314F22F5-9ABF-4039-8D7C-8B5A5E7D7EC7}" srcOrd="1" destOrd="0" presId="urn:microsoft.com/office/officeart/2005/8/layout/orgChart1"/>
    <dgm:cxn modelId="{74A295DD-FA4A-400B-A6B9-F914333FA13F}" type="presParOf" srcId="{FD64AC5D-3B06-4EF8-93BA-4CCDB222F53A}" destId="{07DB01D3-0ECB-4E38-AAD6-577396565579}" srcOrd="2" destOrd="0" presId="urn:microsoft.com/office/officeart/2005/8/layout/orgChart1"/>
    <dgm:cxn modelId="{F17B5C70-FDFF-46B9-9F4F-666A5CDC2401}" type="presParOf" srcId="{D9FC4B45-3F3E-44FD-BCD4-EE579804DF83}" destId="{C18432C2-F5A3-442A-9977-38AEE04F13DD}" srcOrd="16" destOrd="0" presId="urn:microsoft.com/office/officeart/2005/8/layout/orgChart1"/>
    <dgm:cxn modelId="{B324FCE4-15C0-4FA1-9E47-606890AED110}" type="presParOf" srcId="{D9FC4B45-3F3E-44FD-BCD4-EE579804DF83}" destId="{6AE34D16-582D-406C-9420-799CC7F5A7AE}" srcOrd="17" destOrd="0" presId="urn:microsoft.com/office/officeart/2005/8/layout/orgChart1"/>
    <dgm:cxn modelId="{C65C44EC-7E36-4F90-A84F-1ED43CB4EC1D}" type="presParOf" srcId="{6AE34D16-582D-406C-9420-799CC7F5A7AE}" destId="{54DDDA25-6982-44A6-A3A4-FD7DD827E08C}" srcOrd="0" destOrd="0" presId="urn:microsoft.com/office/officeart/2005/8/layout/orgChart1"/>
    <dgm:cxn modelId="{D07B2CC4-2D7F-49E6-822C-92E8DA078851}" type="presParOf" srcId="{54DDDA25-6982-44A6-A3A4-FD7DD827E08C}" destId="{B831C22F-984D-4917-BB77-DA19C75E8EEC}" srcOrd="0" destOrd="0" presId="urn:microsoft.com/office/officeart/2005/8/layout/orgChart1"/>
    <dgm:cxn modelId="{1CD49153-72AA-4D5B-939E-601A312D36A9}" type="presParOf" srcId="{54DDDA25-6982-44A6-A3A4-FD7DD827E08C}" destId="{8315F59C-535C-41A3-9977-47ED97AB1D59}" srcOrd="1" destOrd="0" presId="urn:microsoft.com/office/officeart/2005/8/layout/orgChart1"/>
    <dgm:cxn modelId="{BDCDA9C2-3052-4265-A1E5-446F4CFAE231}" type="presParOf" srcId="{6AE34D16-582D-406C-9420-799CC7F5A7AE}" destId="{DDD0FE66-9AAF-4CF9-9EE4-075FBC445F44}" srcOrd="1" destOrd="0" presId="urn:microsoft.com/office/officeart/2005/8/layout/orgChart1"/>
    <dgm:cxn modelId="{EFF23249-6286-47CF-8CC0-11B4968F57E2}" type="presParOf" srcId="{6AE34D16-582D-406C-9420-799CC7F5A7AE}" destId="{46289894-ECFE-4885-B42C-38D755361C48}" srcOrd="2" destOrd="0" presId="urn:microsoft.com/office/officeart/2005/8/layout/orgChart1"/>
    <dgm:cxn modelId="{DF4B2010-ADB2-4C0C-B7F9-3F337DCA50EA}" type="presParOf" srcId="{D9FC4B45-3F3E-44FD-BCD4-EE579804DF83}" destId="{23EDB892-9EB4-4D68-BBE5-B200E79A66A9}" srcOrd="18" destOrd="0" presId="urn:microsoft.com/office/officeart/2005/8/layout/orgChart1"/>
    <dgm:cxn modelId="{9DB4B10C-A05E-499C-9284-726619230420}" type="presParOf" srcId="{D9FC4B45-3F3E-44FD-BCD4-EE579804DF83}" destId="{3018BE9B-499A-46FA-B678-0395BD203C40}" srcOrd="19" destOrd="0" presId="urn:microsoft.com/office/officeart/2005/8/layout/orgChart1"/>
    <dgm:cxn modelId="{D73E69AF-359E-4664-955A-2628CC9AFE70}" type="presParOf" srcId="{3018BE9B-499A-46FA-B678-0395BD203C40}" destId="{77BAEB05-B0AE-43B7-8916-5ABA409AE86C}" srcOrd="0" destOrd="0" presId="urn:microsoft.com/office/officeart/2005/8/layout/orgChart1"/>
    <dgm:cxn modelId="{9C109012-4EFC-4F21-9A58-47C58BDC4187}" type="presParOf" srcId="{77BAEB05-B0AE-43B7-8916-5ABA409AE86C}" destId="{61FA1666-3CB0-4FB2-8C4B-E313F9D14383}" srcOrd="0" destOrd="0" presId="urn:microsoft.com/office/officeart/2005/8/layout/orgChart1"/>
    <dgm:cxn modelId="{7417DE54-0DDB-4DAB-89A1-5540682D06AE}" type="presParOf" srcId="{77BAEB05-B0AE-43B7-8916-5ABA409AE86C}" destId="{14794923-454C-4188-8CA2-A3764EA77813}" srcOrd="1" destOrd="0" presId="urn:microsoft.com/office/officeart/2005/8/layout/orgChart1"/>
    <dgm:cxn modelId="{F86BBC89-FD8C-4B3A-B744-C4FCCAAD024E}" type="presParOf" srcId="{3018BE9B-499A-46FA-B678-0395BD203C40}" destId="{28C78716-BDA8-44DC-A378-37545D8133BD}" srcOrd="1" destOrd="0" presId="urn:microsoft.com/office/officeart/2005/8/layout/orgChart1"/>
    <dgm:cxn modelId="{A7EF3706-7732-42C8-A8EF-713656DF6159}" type="presParOf" srcId="{3018BE9B-499A-46FA-B678-0395BD203C40}" destId="{4F154440-422F-4F9E-AF96-A0ACF29A387B}" srcOrd="2" destOrd="0" presId="urn:microsoft.com/office/officeart/2005/8/layout/orgChart1"/>
    <dgm:cxn modelId="{A900E335-0E81-4F30-B0A1-F6DB581C8AAB}" type="presParOf" srcId="{9737D7A7-63F3-48BF-9933-04C5C8E1822C}" destId="{03DD41D6-FCC6-4D83-AEDC-06B212AA9FF6}" srcOrd="2" destOrd="0" presId="urn:microsoft.com/office/officeart/2005/8/layout/orgChart1"/>
    <dgm:cxn modelId="{863EC639-00C0-477F-8BAF-1B202CB948EE}" type="presParOf" srcId="{6ADA6EB7-E841-4017-AB6F-9758EC075640}" destId="{748B4E46-BCEA-4B90-9F45-8240389CE2F0}" srcOrd="4" destOrd="0" presId="urn:microsoft.com/office/officeart/2005/8/layout/orgChart1"/>
    <dgm:cxn modelId="{54B3456C-1628-46FB-952C-763831B01DA5}" type="presParOf" srcId="{6ADA6EB7-E841-4017-AB6F-9758EC075640}" destId="{B68D8F3A-DC82-4FFE-B512-7099E3AEA713}" srcOrd="5" destOrd="0" presId="urn:microsoft.com/office/officeart/2005/8/layout/orgChart1"/>
    <dgm:cxn modelId="{FD7CEC90-787E-4445-8C9F-A06A5517EDF9}" type="presParOf" srcId="{B68D8F3A-DC82-4FFE-B512-7099E3AEA713}" destId="{5BC34B2E-9029-44CF-B05B-F90E38971D23}" srcOrd="0" destOrd="0" presId="urn:microsoft.com/office/officeart/2005/8/layout/orgChart1"/>
    <dgm:cxn modelId="{8C20EAD4-DB23-42DD-BE01-A989E5E5E259}" type="presParOf" srcId="{5BC34B2E-9029-44CF-B05B-F90E38971D23}" destId="{A1A7E265-6B33-4908-BF5C-D6CD576CE0F9}" srcOrd="0" destOrd="0" presId="urn:microsoft.com/office/officeart/2005/8/layout/orgChart1"/>
    <dgm:cxn modelId="{82BDC81A-B556-41B6-8F6C-FC464DFEE6F5}" type="presParOf" srcId="{5BC34B2E-9029-44CF-B05B-F90E38971D23}" destId="{439D2B84-4BEE-4138-999D-519850687B31}" srcOrd="1" destOrd="0" presId="urn:microsoft.com/office/officeart/2005/8/layout/orgChart1"/>
    <dgm:cxn modelId="{5AF8F5C3-2CB9-44F6-AFE8-5B76E4F56BC0}" type="presParOf" srcId="{B68D8F3A-DC82-4FFE-B512-7099E3AEA713}" destId="{D7D25BC5-EA56-4E39-91BA-6C064172B7DA}" srcOrd="1" destOrd="0" presId="urn:microsoft.com/office/officeart/2005/8/layout/orgChart1"/>
    <dgm:cxn modelId="{EFCB160E-7926-4392-A5FE-F221BF5E5A59}" type="presParOf" srcId="{D7D25BC5-EA56-4E39-91BA-6C064172B7DA}" destId="{CA3AC0F8-D2DD-45A4-986D-8A7CA3FCA483}" srcOrd="0" destOrd="0" presId="urn:microsoft.com/office/officeart/2005/8/layout/orgChart1"/>
    <dgm:cxn modelId="{957DB502-74A6-4686-80E3-BECF99FBAF64}" type="presParOf" srcId="{D7D25BC5-EA56-4E39-91BA-6C064172B7DA}" destId="{D99DBDFB-ED52-48F3-8D3E-271C50D2B79E}" srcOrd="1" destOrd="0" presId="urn:microsoft.com/office/officeart/2005/8/layout/orgChart1"/>
    <dgm:cxn modelId="{A0747D35-AA13-42A2-951D-9B777AF77259}" type="presParOf" srcId="{D99DBDFB-ED52-48F3-8D3E-271C50D2B79E}" destId="{9B763932-5A53-4A74-B004-D003C43E18EE}" srcOrd="0" destOrd="0" presId="urn:microsoft.com/office/officeart/2005/8/layout/orgChart1"/>
    <dgm:cxn modelId="{750DEA3A-1142-4B12-8AC8-CDD0A9D6AD03}" type="presParOf" srcId="{9B763932-5A53-4A74-B004-D003C43E18EE}" destId="{889AFA51-C7BD-4939-911F-CB1271EB2AF8}" srcOrd="0" destOrd="0" presId="urn:microsoft.com/office/officeart/2005/8/layout/orgChart1"/>
    <dgm:cxn modelId="{1B3FFD34-E877-4974-AAF5-7728A22F061D}" type="presParOf" srcId="{9B763932-5A53-4A74-B004-D003C43E18EE}" destId="{A98729FF-77F6-46B8-967E-2555C25F663E}" srcOrd="1" destOrd="0" presId="urn:microsoft.com/office/officeart/2005/8/layout/orgChart1"/>
    <dgm:cxn modelId="{BDD27FF5-FD3C-43E2-A401-596EDDE2E610}" type="presParOf" srcId="{D99DBDFB-ED52-48F3-8D3E-271C50D2B79E}" destId="{F7EF3153-14EB-492F-AE95-D320C0C069FC}" srcOrd="1" destOrd="0" presId="urn:microsoft.com/office/officeart/2005/8/layout/orgChart1"/>
    <dgm:cxn modelId="{21E07D64-F88C-42A6-AC76-5AECF70E9D05}" type="presParOf" srcId="{D99DBDFB-ED52-48F3-8D3E-271C50D2B79E}" destId="{A35E699F-E00D-4206-A588-89F62AAE38EC}" srcOrd="2" destOrd="0" presId="urn:microsoft.com/office/officeart/2005/8/layout/orgChart1"/>
    <dgm:cxn modelId="{DAE337C5-A19B-4FAB-9E25-9991F3CD8390}" type="presParOf" srcId="{D7D25BC5-EA56-4E39-91BA-6C064172B7DA}" destId="{24EA762B-4AE4-49BB-ACA9-F208C93443F3}" srcOrd="2" destOrd="0" presId="urn:microsoft.com/office/officeart/2005/8/layout/orgChart1"/>
    <dgm:cxn modelId="{995326C1-3E71-4F92-9FB3-B08996F31D7B}" type="presParOf" srcId="{D7D25BC5-EA56-4E39-91BA-6C064172B7DA}" destId="{743E9B0D-08DF-427F-823F-CF3DE19E2DA6}" srcOrd="3" destOrd="0" presId="urn:microsoft.com/office/officeart/2005/8/layout/orgChart1"/>
    <dgm:cxn modelId="{38B61236-63CF-4CF9-B553-DED1E7BE490F}" type="presParOf" srcId="{743E9B0D-08DF-427F-823F-CF3DE19E2DA6}" destId="{3099D2FC-CB3B-40A5-B474-CD9965330136}" srcOrd="0" destOrd="0" presId="urn:microsoft.com/office/officeart/2005/8/layout/orgChart1"/>
    <dgm:cxn modelId="{E27F3132-E154-45D9-B280-B407696108E8}" type="presParOf" srcId="{3099D2FC-CB3B-40A5-B474-CD9965330136}" destId="{5566157D-149C-460F-97F5-CE2E5214442B}" srcOrd="0" destOrd="0" presId="urn:microsoft.com/office/officeart/2005/8/layout/orgChart1"/>
    <dgm:cxn modelId="{1F1AFBE5-6F45-4399-B2B7-E93C3D4C6B0D}" type="presParOf" srcId="{3099D2FC-CB3B-40A5-B474-CD9965330136}" destId="{1278BCC9-713A-42EA-B5C7-590514CE77EA}" srcOrd="1" destOrd="0" presId="urn:microsoft.com/office/officeart/2005/8/layout/orgChart1"/>
    <dgm:cxn modelId="{E847F399-E450-47D4-8350-B4CBF9C26636}" type="presParOf" srcId="{743E9B0D-08DF-427F-823F-CF3DE19E2DA6}" destId="{A81B85AC-D1FE-4D14-88FC-5D972597779D}" srcOrd="1" destOrd="0" presId="urn:microsoft.com/office/officeart/2005/8/layout/orgChart1"/>
    <dgm:cxn modelId="{FD99F899-6041-4C4E-BCBE-E278D64288BE}" type="presParOf" srcId="{743E9B0D-08DF-427F-823F-CF3DE19E2DA6}" destId="{316C3BD7-4B8D-418B-8A23-CB0C7576EEFB}" srcOrd="2" destOrd="0" presId="urn:microsoft.com/office/officeart/2005/8/layout/orgChart1"/>
    <dgm:cxn modelId="{1A84DBD5-534A-43BF-9FBA-06817928A034}" type="presParOf" srcId="{D7D25BC5-EA56-4E39-91BA-6C064172B7DA}" destId="{5EE41A7C-9A60-4601-9E7F-353EBE225BC6}" srcOrd="4" destOrd="0" presId="urn:microsoft.com/office/officeart/2005/8/layout/orgChart1"/>
    <dgm:cxn modelId="{DBD44540-F79E-4B82-8900-C8FCBE3C6F02}" type="presParOf" srcId="{D7D25BC5-EA56-4E39-91BA-6C064172B7DA}" destId="{3808C761-5149-4948-9D45-53A8311C1558}" srcOrd="5" destOrd="0" presId="urn:microsoft.com/office/officeart/2005/8/layout/orgChart1"/>
    <dgm:cxn modelId="{BDC4D0E2-4F7F-402F-99AC-BCD456A83FA9}" type="presParOf" srcId="{3808C761-5149-4948-9D45-53A8311C1558}" destId="{FEAB8C43-AD8A-416B-AFC7-40621C30E60F}" srcOrd="0" destOrd="0" presId="urn:microsoft.com/office/officeart/2005/8/layout/orgChart1"/>
    <dgm:cxn modelId="{2755AEB6-F5F0-4AE7-B75F-2D2E07E21E7D}" type="presParOf" srcId="{FEAB8C43-AD8A-416B-AFC7-40621C30E60F}" destId="{84973679-6F82-4ED4-A935-CA4A0FD0F148}" srcOrd="0" destOrd="0" presId="urn:microsoft.com/office/officeart/2005/8/layout/orgChart1"/>
    <dgm:cxn modelId="{ADE81DE3-41C3-4B56-B3EF-7FBEF3B7C4DE}" type="presParOf" srcId="{FEAB8C43-AD8A-416B-AFC7-40621C30E60F}" destId="{40F4D01A-1074-4751-950A-F4647C147244}" srcOrd="1" destOrd="0" presId="urn:microsoft.com/office/officeart/2005/8/layout/orgChart1"/>
    <dgm:cxn modelId="{2CEE00A3-3E2E-4BBB-AD2F-BDB21972B619}" type="presParOf" srcId="{3808C761-5149-4948-9D45-53A8311C1558}" destId="{27DF98D2-62E1-417C-82E4-D2FE02A4F5FE}" srcOrd="1" destOrd="0" presId="urn:microsoft.com/office/officeart/2005/8/layout/orgChart1"/>
    <dgm:cxn modelId="{16E8694E-CC00-40C0-86BF-38AE13627E05}" type="presParOf" srcId="{3808C761-5149-4948-9D45-53A8311C1558}" destId="{89A855E3-C00B-499B-87FC-C1CB1ECF0F4E}" srcOrd="2" destOrd="0" presId="urn:microsoft.com/office/officeart/2005/8/layout/orgChart1"/>
    <dgm:cxn modelId="{575554E1-4AFD-40AF-A9F3-97592B5EDF9C}" type="presParOf" srcId="{D7D25BC5-EA56-4E39-91BA-6C064172B7DA}" destId="{FC2A0575-63FD-4437-9846-05FE755CCA4D}" srcOrd="6" destOrd="0" presId="urn:microsoft.com/office/officeart/2005/8/layout/orgChart1"/>
    <dgm:cxn modelId="{2416045B-2FE6-4CA8-A2C0-ECF0D588AAE8}" type="presParOf" srcId="{D7D25BC5-EA56-4E39-91BA-6C064172B7DA}" destId="{988B3699-602D-4992-9E3E-924521844B38}" srcOrd="7" destOrd="0" presId="urn:microsoft.com/office/officeart/2005/8/layout/orgChart1"/>
    <dgm:cxn modelId="{072E6D1B-53A9-4926-920E-D53FB6801F62}" type="presParOf" srcId="{988B3699-602D-4992-9E3E-924521844B38}" destId="{8F8D8B90-26CA-4EA2-A128-D53D16BD5520}" srcOrd="0" destOrd="0" presId="urn:microsoft.com/office/officeart/2005/8/layout/orgChart1"/>
    <dgm:cxn modelId="{BD48D0CF-6739-4130-A510-D7C1259C8244}" type="presParOf" srcId="{8F8D8B90-26CA-4EA2-A128-D53D16BD5520}" destId="{9185C20B-3F53-4B76-A66A-573CD6C3DBE0}" srcOrd="0" destOrd="0" presId="urn:microsoft.com/office/officeart/2005/8/layout/orgChart1"/>
    <dgm:cxn modelId="{0837253B-3FC8-4F76-A380-68CEAE44984F}" type="presParOf" srcId="{8F8D8B90-26CA-4EA2-A128-D53D16BD5520}" destId="{F7DFF23A-F7C5-477C-B4A9-B17D28FAD8AD}" srcOrd="1" destOrd="0" presId="urn:microsoft.com/office/officeart/2005/8/layout/orgChart1"/>
    <dgm:cxn modelId="{02B6D5AE-3DC3-467A-8F38-2C58AF78D59F}" type="presParOf" srcId="{988B3699-602D-4992-9E3E-924521844B38}" destId="{7527F933-E877-4C7E-A425-6522C0EA79DC}" srcOrd="1" destOrd="0" presId="urn:microsoft.com/office/officeart/2005/8/layout/orgChart1"/>
    <dgm:cxn modelId="{70037761-E8ED-4DBA-9161-028120B9D7FD}" type="presParOf" srcId="{988B3699-602D-4992-9E3E-924521844B38}" destId="{47E34A57-57F2-49DC-852B-7FFD59F11D0A}" srcOrd="2" destOrd="0" presId="urn:microsoft.com/office/officeart/2005/8/layout/orgChart1"/>
    <dgm:cxn modelId="{69C37096-9EB8-4F59-BE78-45A2A83EB3D3}" type="presParOf" srcId="{B68D8F3A-DC82-4FFE-B512-7099E3AEA713}" destId="{93C87654-F184-4CA5-85BD-B0DA8E3B6D6E}" srcOrd="2" destOrd="0" presId="urn:microsoft.com/office/officeart/2005/8/layout/orgChart1"/>
    <dgm:cxn modelId="{472EE2AD-50D5-44E7-BEBA-DE043AD08533}" type="presParOf" srcId="{6ADA6EB7-E841-4017-AB6F-9758EC075640}" destId="{52E9BC89-FDF8-438D-A60C-DC48E0884547}" srcOrd="6" destOrd="0" presId="urn:microsoft.com/office/officeart/2005/8/layout/orgChart1"/>
    <dgm:cxn modelId="{74DD3235-15AC-4C77-8D23-A4115D18C9FA}" type="presParOf" srcId="{6ADA6EB7-E841-4017-AB6F-9758EC075640}" destId="{FF68940A-B349-444C-AA28-D3E810C7133D}" srcOrd="7" destOrd="0" presId="urn:microsoft.com/office/officeart/2005/8/layout/orgChart1"/>
    <dgm:cxn modelId="{B7C7594F-6D0C-4FA5-B826-D1362FBB9A83}" type="presParOf" srcId="{FF68940A-B349-444C-AA28-D3E810C7133D}" destId="{6574B68E-08D6-4445-A396-E3011C6F1F1E}" srcOrd="0" destOrd="0" presId="urn:microsoft.com/office/officeart/2005/8/layout/orgChart1"/>
    <dgm:cxn modelId="{33722B4D-30DC-4926-BA66-0B23CAEC8439}" type="presParOf" srcId="{6574B68E-08D6-4445-A396-E3011C6F1F1E}" destId="{2034BB97-76EC-478B-8B14-7267569BC1AA}" srcOrd="0" destOrd="0" presId="urn:microsoft.com/office/officeart/2005/8/layout/orgChart1"/>
    <dgm:cxn modelId="{6DF8EE8E-0350-4BC0-BCC1-CBDD71F006CA}" type="presParOf" srcId="{6574B68E-08D6-4445-A396-E3011C6F1F1E}" destId="{8A30A787-B8DD-468A-B6C4-47C9516B39E9}" srcOrd="1" destOrd="0" presId="urn:microsoft.com/office/officeart/2005/8/layout/orgChart1"/>
    <dgm:cxn modelId="{ACC8B920-C6C4-4E02-9D6F-A431CF38F281}" type="presParOf" srcId="{FF68940A-B349-444C-AA28-D3E810C7133D}" destId="{41BF1B5E-8FD9-49C9-A221-D6ACE8B91BB2}" srcOrd="1" destOrd="0" presId="urn:microsoft.com/office/officeart/2005/8/layout/orgChart1"/>
    <dgm:cxn modelId="{C1CE07BF-7603-4A9A-B78A-A31856C7E320}" type="presParOf" srcId="{41BF1B5E-8FD9-49C9-A221-D6ACE8B91BB2}" destId="{0964CB70-41C0-4F29-B83E-AE1B76280125}" srcOrd="0" destOrd="0" presId="urn:microsoft.com/office/officeart/2005/8/layout/orgChart1"/>
    <dgm:cxn modelId="{69AD8E2A-9E55-4CE0-B900-4E466DD6F00E}" type="presParOf" srcId="{41BF1B5E-8FD9-49C9-A221-D6ACE8B91BB2}" destId="{263DF04E-9489-43B9-9919-6D4BBFA8FEFA}" srcOrd="1" destOrd="0" presId="urn:microsoft.com/office/officeart/2005/8/layout/orgChart1"/>
    <dgm:cxn modelId="{4053FA04-78B8-460D-8440-66CDD5DA549B}" type="presParOf" srcId="{263DF04E-9489-43B9-9919-6D4BBFA8FEFA}" destId="{E3F323DD-D680-49A4-969C-D5BAF821034F}" srcOrd="0" destOrd="0" presId="urn:microsoft.com/office/officeart/2005/8/layout/orgChart1"/>
    <dgm:cxn modelId="{F9BDDFCC-DD8D-4A18-A7E0-60ADD8CD81C3}" type="presParOf" srcId="{E3F323DD-D680-49A4-969C-D5BAF821034F}" destId="{6525961F-8FBD-4859-8DE6-CC029265436B}" srcOrd="0" destOrd="0" presId="urn:microsoft.com/office/officeart/2005/8/layout/orgChart1"/>
    <dgm:cxn modelId="{09C9EA00-2F20-49C3-A5C4-7D91838FBDAA}" type="presParOf" srcId="{E3F323DD-D680-49A4-969C-D5BAF821034F}" destId="{74A4E3A4-EC91-46B0-B939-76D9B05E6BDA}" srcOrd="1" destOrd="0" presId="urn:microsoft.com/office/officeart/2005/8/layout/orgChart1"/>
    <dgm:cxn modelId="{CA96A050-FF9F-4AB8-BD99-F4CA56635CC5}" type="presParOf" srcId="{263DF04E-9489-43B9-9919-6D4BBFA8FEFA}" destId="{C3D653DD-ECF6-4E60-B355-4686266D6C59}" srcOrd="1" destOrd="0" presId="urn:microsoft.com/office/officeart/2005/8/layout/orgChart1"/>
    <dgm:cxn modelId="{E5C95B37-DFB6-4654-B03C-6B1F214F8298}" type="presParOf" srcId="{263DF04E-9489-43B9-9919-6D4BBFA8FEFA}" destId="{8FB834D5-02D4-4988-BD91-B25BA84DF879}" srcOrd="2" destOrd="0" presId="urn:microsoft.com/office/officeart/2005/8/layout/orgChart1"/>
    <dgm:cxn modelId="{B43BE0AA-57D1-4735-9954-20DD5F1F5A88}" type="presParOf" srcId="{41BF1B5E-8FD9-49C9-A221-D6ACE8B91BB2}" destId="{3B1825C6-1AEF-462F-A1CD-79B8796D71BF}" srcOrd="2" destOrd="0" presId="urn:microsoft.com/office/officeart/2005/8/layout/orgChart1"/>
    <dgm:cxn modelId="{0996B6A4-C162-4907-B4D1-E269AD91210F}" type="presParOf" srcId="{41BF1B5E-8FD9-49C9-A221-D6ACE8B91BB2}" destId="{1F8D0472-FD32-4DED-B15C-7E970B2412C0}" srcOrd="3" destOrd="0" presId="urn:microsoft.com/office/officeart/2005/8/layout/orgChart1"/>
    <dgm:cxn modelId="{2D10A2D6-91DE-4E57-93CE-9E6086E92E26}" type="presParOf" srcId="{1F8D0472-FD32-4DED-B15C-7E970B2412C0}" destId="{9DEDC8FA-ED3E-48E4-AB8D-137BF79A65A7}" srcOrd="0" destOrd="0" presId="urn:microsoft.com/office/officeart/2005/8/layout/orgChart1"/>
    <dgm:cxn modelId="{0F3D72C4-97D1-42C7-A5D8-6F00D0111EDE}" type="presParOf" srcId="{9DEDC8FA-ED3E-48E4-AB8D-137BF79A65A7}" destId="{78EE5F20-2D72-4F04-BE3F-8283CA4EB390}" srcOrd="0" destOrd="0" presId="urn:microsoft.com/office/officeart/2005/8/layout/orgChart1"/>
    <dgm:cxn modelId="{C86D150D-D936-41FE-85A5-5E870F149B7D}" type="presParOf" srcId="{9DEDC8FA-ED3E-48E4-AB8D-137BF79A65A7}" destId="{AF9B3472-43A8-400D-9CD2-962F2F9B4648}" srcOrd="1" destOrd="0" presId="urn:microsoft.com/office/officeart/2005/8/layout/orgChart1"/>
    <dgm:cxn modelId="{07DD5D67-5743-469D-B707-D5B9296323AE}" type="presParOf" srcId="{1F8D0472-FD32-4DED-B15C-7E970B2412C0}" destId="{94FAFAF2-B215-4FD2-AE42-95E99BABD887}" srcOrd="1" destOrd="0" presId="urn:microsoft.com/office/officeart/2005/8/layout/orgChart1"/>
    <dgm:cxn modelId="{453CF4FE-A8B7-4A79-9B10-D30785C20DC1}" type="presParOf" srcId="{1F8D0472-FD32-4DED-B15C-7E970B2412C0}" destId="{71E9BBD6-E89A-40A3-8262-42160D86FB87}" srcOrd="2" destOrd="0" presId="urn:microsoft.com/office/officeart/2005/8/layout/orgChart1"/>
    <dgm:cxn modelId="{FEBDFD4F-8597-4401-AE89-916B690775B7}" type="presParOf" srcId="{41BF1B5E-8FD9-49C9-A221-D6ACE8B91BB2}" destId="{4C665A08-AC56-45D8-8D87-B1C7BBA58F7E}" srcOrd="4" destOrd="0" presId="urn:microsoft.com/office/officeart/2005/8/layout/orgChart1"/>
    <dgm:cxn modelId="{144279FC-B19E-4595-87F0-8B1B9BCBEC30}" type="presParOf" srcId="{41BF1B5E-8FD9-49C9-A221-D6ACE8B91BB2}" destId="{82262C01-9B44-43CF-8FB1-7BB5BEE6F4FA}" srcOrd="5" destOrd="0" presId="urn:microsoft.com/office/officeart/2005/8/layout/orgChart1"/>
    <dgm:cxn modelId="{79C91E00-2683-48F6-A34D-1DB05050A9F1}" type="presParOf" srcId="{82262C01-9B44-43CF-8FB1-7BB5BEE6F4FA}" destId="{C7A3390F-3E75-4B07-AF4B-15926CB03FCA}" srcOrd="0" destOrd="0" presId="urn:microsoft.com/office/officeart/2005/8/layout/orgChart1"/>
    <dgm:cxn modelId="{7B11198A-E718-4342-AEFE-351FF5FFD6E7}" type="presParOf" srcId="{C7A3390F-3E75-4B07-AF4B-15926CB03FCA}" destId="{C2E3C8C2-963F-46A6-A733-D84654932C5D}" srcOrd="0" destOrd="0" presId="urn:microsoft.com/office/officeart/2005/8/layout/orgChart1"/>
    <dgm:cxn modelId="{2F1E2CF7-1432-4759-844A-3D89B6D37DA1}" type="presParOf" srcId="{C7A3390F-3E75-4B07-AF4B-15926CB03FCA}" destId="{77C70671-18DE-43E8-BF2F-71650C01E492}" srcOrd="1" destOrd="0" presId="urn:microsoft.com/office/officeart/2005/8/layout/orgChart1"/>
    <dgm:cxn modelId="{D7508498-154B-48C8-A8C3-6C7697CF2228}" type="presParOf" srcId="{82262C01-9B44-43CF-8FB1-7BB5BEE6F4FA}" destId="{4CDCC8AD-A25D-4C3B-8942-D1A0FD71140E}" srcOrd="1" destOrd="0" presId="urn:microsoft.com/office/officeart/2005/8/layout/orgChart1"/>
    <dgm:cxn modelId="{7ACD1129-40B8-4CF2-96FA-F884521CE2A5}" type="presParOf" srcId="{82262C01-9B44-43CF-8FB1-7BB5BEE6F4FA}" destId="{88CAC4A9-BC6A-438D-BA4D-2EE944A0E38F}" srcOrd="2" destOrd="0" presId="urn:microsoft.com/office/officeart/2005/8/layout/orgChart1"/>
    <dgm:cxn modelId="{0C0EAFEF-1AEE-40BA-A424-2D367C1CAF3E}" type="presParOf" srcId="{41BF1B5E-8FD9-49C9-A221-D6ACE8B91BB2}" destId="{A60D6A16-F6F3-469C-998A-AD9746314B50}" srcOrd="6" destOrd="0" presId="urn:microsoft.com/office/officeart/2005/8/layout/orgChart1"/>
    <dgm:cxn modelId="{A2B0AA92-0E5D-4B13-9A9C-22D296372A34}" type="presParOf" srcId="{41BF1B5E-8FD9-49C9-A221-D6ACE8B91BB2}" destId="{4441AEDA-4626-4FDD-AEB8-482A7E8505F0}" srcOrd="7" destOrd="0" presId="urn:microsoft.com/office/officeart/2005/8/layout/orgChart1"/>
    <dgm:cxn modelId="{EE9B7F38-C5A2-45EE-AFBA-6078C6D61EE3}" type="presParOf" srcId="{4441AEDA-4626-4FDD-AEB8-482A7E8505F0}" destId="{90AF87E6-E15C-48DE-B534-41D432C2A4EB}" srcOrd="0" destOrd="0" presId="urn:microsoft.com/office/officeart/2005/8/layout/orgChart1"/>
    <dgm:cxn modelId="{5DB191B1-8D5D-4753-A94F-9C526D672EB7}" type="presParOf" srcId="{90AF87E6-E15C-48DE-B534-41D432C2A4EB}" destId="{B12AF6D6-EC2F-4B2B-992C-8D08E7129CD6}" srcOrd="0" destOrd="0" presId="urn:microsoft.com/office/officeart/2005/8/layout/orgChart1"/>
    <dgm:cxn modelId="{CD8AC99A-B195-43FC-9084-EEC92236BB81}" type="presParOf" srcId="{90AF87E6-E15C-48DE-B534-41D432C2A4EB}" destId="{35745B26-F070-41AC-9DB6-D2575B1469B0}" srcOrd="1" destOrd="0" presId="urn:microsoft.com/office/officeart/2005/8/layout/orgChart1"/>
    <dgm:cxn modelId="{39487D3B-3CB2-4F83-80C5-895969AC1C08}" type="presParOf" srcId="{4441AEDA-4626-4FDD-AEB8-482A7E8505F0}" destId="{C2C426F3-897A-41DF-9FD6-5BE1C57312E0}" srcOrd="1" destOrd="0" presId="urn:microsoft.com/office/officeart/2005/8/layout/orgChart1"/>
    <dgm:cxn modelId="{06D2AAF9-2FAE-47BA-A4D4-B383DC730B9B}" type="presParOf" srcId="{4441AEDA-4626-4FDD-AEB8-482A7E8505F0}" destId="{0BEBC681-498A-4F39-9A2E-C95C6088EB34}" srcOrd="2" destOrd="0" presId="urn:microsoft.com/office/officeart/2005/8/layout/orgChart1"/>
    <dgm:cxn modelId="{86A1684B-E4F2-4890-B94B-B8A0D8B46C91}" type="presParOf" srcId="{41BF1B5E-8FD9-49C9-A221-D6ACE8B91BB2}" destId="{33F05970-CE5A-4B8F-B2ED-821CE72425D7}" srcOrd="8" destOrd="0" presId="urn:microsoft.com/office/officeart/2005/8/layout/orgChart1"/>
    <dgm:cxn modelId="{D259E7FB-7AA0-41E4-AB30-6B3C40762B40}" type="presParOf" srcId="{41BF1B5E-8FD9-49C9-A221-D6ACE8B91BB2}" destId="{750B74F5-7E79-432C-B0C5-A04C45276A2A}" srcOrd="9" destOrd="0" presId="urn:microsoft.com/office/officeart/2005/8/layout/orgChart1"/>
    <dgm:cxn modelId="{C0268DF3-D327-45EB-8707-B7AA7C48BF99}" type="presParOf" srcId="{750B74F5-7E79-432C-B0C5-A04C45276A2A}" destId="{5794658F-6AE0-446D-9AB2-1BF0383CDC68}" srcOrd="0" destOrd="0" presId="urn:microsoft.com/office/officeart/2005/8/layout/orgChart1"/>
    <dgm:cxn modelId="{F99948A2-B4D3-4415-8C23-DCB526AC6CB5}" type="presParOf" srcId="{5794658F-6AE0-446D-9AB2-1BF0383CDC68}" destId="{66F06CE1-3BB0-4A85-8D70-A149B82E3BB3}" srcOrd="0" destOrd="0" presId="urn:microsoft.com/office/officeart/2005/8/layout/orgChart1"/>
    <dgm:cxn modelId="{80DFD7C3-43C8-478B-80E5-38E19D5F97BD}" type="presParOf" srcId="{5794658F-6AE0-446D-9AB2-1BF0383CDC68}" destId="{AC80687D-CE89-4BFB-A0CD-895A4C091F36}" srcOrd="1" destOrd="0" presId="urn:microsoft.com/office/officeart/2005/8/layout/orgChart1"/>
    <dgm:cxn modelId="{3556A0B5-97FA-43AA-A80A-6A2720A7C523}" type="presParOf" srcId="{750B74F5-7E79-432C-B0C5-A04C45276A2A}" destId="{C1C6460D-BBC0-4C5A-948B-BA1CAF8F431F}" srcOrd="1" destOrd="0" presId="urn:microsoft.com/office/officeart/2005/8/layout/orgChart1"/>
    <dgm:cxn modelId="{667204CC-E6B6-4EF9-8701-24139D2D68B9}" type="presParOf" srcId="{750B74F5-7E79-432C-B0C5-A04C45276A2A}" destId="{2A7DEF8A-AA33-467C-ACC5-25E463A8AC02}" srcOrd="2" destOrd="0" presId="urn:microsoft.com/office/officeart/2005/8/layout/orgChart1"/>
    <dgm:cxn modelId="{BC5CEAB8-7C13-4708-BD35-5DB747A0553F}" type="presParOf" srcId="{41BF1B5E-8FD9-49C9-A221-D6ACE8B91BB2}" destId="{EE5F5FC3-2FC6-4461-ABAA-F66D65415C6E}" srcOrd="10" destOrd="0" presId="urn:microsoft.com/office/officeart/2005/8/layout/orgChart1"/>
    <dgm:cxn modelId="{EDF1786C-FDED-421C-8609-8823C4738153}" type="presParOf" srcId="{41BF1B5E-8FD9-49C9-A221-D6ACE8B91BB2}" destId="{B8B24061-FF3D-4B2F-9205-9859AA45EE72}" srcOrd="11" destOrd="0" presId="urn:microsoft.com/office/officeart/2005/8/layout/orgChart1"/>
    <dgm:cxn modelId="{1B00A018-FC3F-4381-A555-C24BB3FD9ABA}" type="presParOf" srcId="{B8B24061-FF3D-4B2F-9205-9859AA45EE72}" destId="{429910CB-8F46-4C1D-B088-A8348BDCFA4E}" srcOrd="0" destOrd="0" presId="urn:microsoft.com/office/officeart/2005/8/layout/orgChart1"/>
    <dgm:cxn modelId="{F2CE9D14-F84E-448A-996A-91ECCEC84219}" type="presParOf" srcId="{429910CB-8F46-4C1D-B088-A8348BDCFA4E}" destId="{FDBEDC48-7610-4008-971F-97F33921F3AB}" srcOrd="0" destOrd="0" presId="urn:microsoft.com/office/officeart/2005/8/layout/orgChart1"/>
    <dgm:cxn modelId="{0F236A97-5857-4C40-AF9D-7E50937ED6F4}" type="presParOf" srcId="{429910CB-8F46-4C1D-B088-A8348BDCFA4E}" destId="{8FA4DC7A-1F32-4EBD-B2D2-2B337761960E}" srcOrd="1" destOrd="0" presId="urn:microsoft.com/office/officeart/2005/8/layout/orgChart1"/>
    <dgm:cxn modelId="{480D024B-4E4A-478C-B248-72F34C2FF5F2}" type="presParOf" srcId="{B8B24061-FF3D-4B2F-9205-9859AA45EE72}" destId="{096C45DE-ADFA-4070-A08E-77D21DA69EC9}" srcOrd="1" destOrd="0" presId="urn:microsoft.com/office/officeart/2005/8/layout/orgChart1"/>
    <dgm:cxn modelId="{F84AAE6A-F3EE-4B0B-B663-7487536B40D6}" type="presParOf" srcId="{B8B24061-FF3D-4B2F-9205-9859AA45EE72}" destId="{95EC7B72-4125-4746-BA92-652C046DBF7E}" srcOrd="2" destOrd="0" presId="urn:microsoft.com/office/officeart/2005/8/layout/orgChart1"/>
    <dgm:cxn modelId="{BFC2929B-7FA8-462D-9B10-3BF5FF4BA564}" type="presParOf" srcId="{41BF1B5E-8FD9-49C9-A221-D6ACE8B91BB2}" destId="{47EA5480-D883-4F10-85FC-3C1C11868AAB}" srcOrd="12" destOrd="0" presId="urn:microsoft.com/office/officeart/2005/8/layout/orgChart1"/>
    <dgm:cxn modelId="{08B792B4-C6F0-432D-8812-79DDA3645BA6}" type="presParOf" srcId="{41BF1B5E-8FD9-49C9-A221-D6ACE8B91BB2}" destId="{BCF512F6-6D36-4271-A50B-AD3B7CF7BA17}" srcOrd="13" destOrd="0" presId="urn:microsoft.com/office/officeart/2005/8/layout/orgChart1"/>
    <dgm:cxn modelId="{71229931-FA92-46D8-BB21-C05CAE36A972}" type="presParOf" srcId="{BCF512F6-6D36-4271-A50B-AD3B7CF7BA17}" destId="{D2ED8F56-4F8E-4086-8442-C1584854E740}" srcOrd="0" destOrd="0" presId="urn:microsoft.com/office/officeart/2005/8/layout/orgChart1"/>
    <dgm:cxn modelId="{00BF67E8-7850-4C17-9B56-20BFFC16065C}" type="presParOf" srcId="{D2ED8F56-4F8E-4086-8442-C1584854E740}" destId="{D80FB876-3642-4FE6-B768-C498CB2DC45B}" srcOrd="0" destOrd="0" presId="urn:microsoft.com/office/officeart/2005/8/layout/orgChart1"/>
    <dgm:cxn modelId="{56FEBDE6-DE7C-4696-9519-C422A2EBE22C}" type="presParOf" srcId="{D2ED8F56-4F8E-4086-8442-C1584854E740}" destId="{342F66C1-B350-4FB9-B560-508F7697197D}" srcOrd="1" destOrd="0" presId="urn:microsoft.com/office/officeart/2005/8/layout/orgChart1"/>
    <dgm:cxn modelId="{0E3867FE-840D-4991-9BBA-C323F3A6D53E}" type="presParOf" srcId="{BCF512F6-6D36-4271-A50B-AD3B7CF7BA17}" destId="{C4DE29B9-0056-473F-8C63-771358C8FCEC}" srcOrd="1" destOrd="0" presId="urn:microsoft.com/office/officeart/2005/8/layout/orgChart1"/>
    <dgm:cxn modelId="{4AE9439D-A504-4B15-9CF4-3C37AB97E894}" type="presParOf" srcId="{BCF512F6-6D36-4271-A50B-AD3B7CF7BA17}" destId="{0774DFF6-DBE3-4AF0-BB54-65B3ED36A342}" srcOrd="2" destOrd="0" presId="urn:microsoft.com/office/officeart/2005/8/layout/orgChart1"/>
    <dgm:cxn modelId="{D2B25631-49CC-407E-BF21-C83D1E5DCB66}" type="presParOf" srcId="{FF68940A-B349-444C-AA28-D3E810C7133D}" destId="{C9882621-E649-49B7-B3B2-676FF7EF65A5}" srcOrd="2" destOrd="0" presId="urn:microsoft.com/office/officeart/2005/8/layout/orgChart1"/>
    <dgm:cxn modelId="{6C6F4F75-840E-46B3-BC96-23DB38B705DD}" type="presParOf" srcId="{F88D0735-F9A5-4838-BF81-5F41B1860C85}" destId="{ABD12F8A-A439-4063-AA10-A83967468CA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E992A6-A633-4754-A876-B06BF9F7A37B}">
      <dsp:nvSpPr>
        <dsp:cNvPr id="0" name=""/>
        <dsp:cNvSpPr/>
      </dsp:nvSpPr>
      <dsp:spPr>
        <a:xfrm>
          <a:off x="9860074" y="1494023"/>
          <a:ext cx="91440" cy="3458319"/>
        </a:xfrm>
        <a:custGeom>
          <a:avLst/>
          <a:gdLst/>
          <a:ahLst/>
          <a:cxnLst/>
          <a:rect l="0" t="0" r="0" b="0"/>
          <a:pathLst>
            <a:path>
              <a:moveTo>
                <a:pt x="89258" y="0"/>
              </a:moveTo>
              <a:lnTo>
                <a:pt x="45720" y="345831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A44425D-D7C8-40F6-A0F1-CB9AD593B73B}">
      <dsp:nvSpPr>
        <dsp:cNvPr id="0" name=""/>
        <dsp:cNvSpPr/>
      </dsp:nvSpPr>
      <dsp:spPr>
        <a:xfrm>
          <a:off x="9860074" y="1494023"/>
          <a:ext cx="91440" cy="2929341"/>
        </a:xfrm>
        <a:custGeom>
          <a:avLst/>
          <a:gdLst/>
          <a:ahLst/>
          <a:cxnLst/>
          <a:rect l="0" t="0" r="0" b="0"/>
          <a:pathLst>
            <a:path>
              <a:moveTo>
                <a:pt x="89258" y="0"/>
              </a:moveTo>
              <a:lnTo>
                <a:pt x="45720" y="292934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FD6F4FB-DDB8-4ECF-B98C-0BEC42938CD3}">
      <dsp:nvSpPr>
        <dsp:cNvPr id="0" name=""/>
        <dsp:cNvSpPr/>
      </dsp:nvSpPr>
      <dsp:spPr>
        <a:xfrm>
          <a:off x="9860074" y="1494023"/>
          <a:ext cx="91440" cy="2380890"/>
        </a:xfrm>
        <a:custGeom>
          <a:avLst/>
          <a:gdLst/>
          <a:ahLst/>
          <a:cxnLst/>
          <a:rect l="0" t="0" r="0" b="0"/>
          <a:pathLst>
            <a:path>
              <a:moveTo>
                <a:pt x="89258" y="0"/>
              </a:moveTo>
              <a:lnTo>
                <a:pt x="45720" y="238089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7F1120A-A083-49E8-9E5C-CE1F6413F9BB}">
      <dsp:nvSpPr>
        <dsp:cNvPr id="0" name=""/>
        <dsp:cNvSpPr/>
      </dsp:nvSpPr>
      <dsp:spPr>
        <a:xfrm>
          <a:off x="9860074" y="1494023"/>
          <a:ext cx="91440" cy="1849986"/>
        </a:xfrm>
        <a:custGeom>
          <a:avLst/>
          <a:gdLst/>
          <a:ahLst/>
          <a:cxnLst/>
          <a:rect l="0" t="0" r="0" b="0"/>
          <a:pathLst>
            <a:path>
              <a:moveTo>
                <a:pt x="89258" y="0"/>
              </a:moveTo>
              <a:lnTo>
                <a:pt x="45720" y="184998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513B296-BBE7-4146-9B5C-663C91C280DB}">
      <dsp:nvSpPr>
        <dsp:cNvPr id="0" name=""/>
        <dsp:cNvSpPr/>
      </dsp:nvSpPr>
      <dsp:spPr>
        <a:xfrm>
          <a:off x="9860074" y="1494023"/>
          <a:ext cx="91440" cy="1314655"/>
        </a:xfrm>
        <a:custGeom>
          <a:avLst/>
          <a:gdLst/>
          <a:ahLst/>
          <a:cxnLst/>
          <a:rect l="0" t="0" r="0" b="0"/>
          <a:pathLst>
            <a:path>
              <a:moveTo>
                <a:pt x="89258" y="0"/>
              </a:moveTo>
              <a:lnTo>
                <a:pt x="45720" y="13146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0D36E63-1B7A-4999-B032-672C2B5B93C8}">
      <dsp:nvSpPr>
        <dsp:cNvPr id="0" name=""/>
        <dsp:cNvSpPr/>
      </dsp:nvSpPr>
      <dsp:spPr>
        <a:xfrm>
          <a:off x="9860074" y="1494023"/>
          <a:ext cx="91440" cy="796943"/>
        </a:xfrm>
        <a:custGeom>
          <a:avLst/>
          <a:gdLst/>
          <a:ahLst/>
          <a:cxnLst/>
          <a:rect l="0" t="0" r="0" b="0"/>
          <a:pathLst>
            <a:path>
              <a:moveTo>
                <a:pt x="89258" y="0"/>
              </a:moveTo>
              <a:lnTo>
                <a:pt x="45720" y="79694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969B95B-BF5F-4C79-8B06-7BB350822E73}">
      <dsp:nvSpPr>
        <dsp:cNvPr id="0" name=""/>
        <dsp:cNvSpPr/>
      </dsp:nvSpPr>
      <dsp:spPr>
        <a:xfrm>
          <a:off x="9856766" y="1494023"/>
          <a:ext cx="91440" cy="292346"/>
        </a:xfrm>
        <a:custGeom>
          <a:avLst/>
          <a:gdLst/>
          <a:ahLst/>
          <a:cxnLst/>
          <a:rect l="0" t="0" r="0" b="0"/>
          <a:pathLst>
            <a:path>
              <a:moveTo>
                <a:pt x="92566" y="0"/>
              </a:moveTo>
              <a:lnTo>
                <a:pt x="45720" y="29234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6881711-8B76-4157-8371-D2A005E257D7}">
      <dsp:nvSpPr>
        <dsp:cNvPr id="0" name=""/>
        <dsp:cNvSpPr/>
      </dsp:nvSpPr>
      <dsp:spPr>
        <a:xfrm>
          <a:off x="5305616" y="776246"/>
          <a:ext cx="5522117" cy="91440"/>
        </a:xfrm>
        <a:custGeom>
          <a:avLst/>
          <a:gdLst/>
          <a:ahLst/>
          <a:cxnLst/>
          <a:rect l="0" t="0" r="0" b="0"/>
          <a:pathLst>
            <a:path>
              <a:moveTo>
                <a:pt x="0" y="45720"/>
              </a:moveTo>
              <a:lnTo>
                <a:pt x="5522117" y="45720"/>
              </a:lnTo>
              <a:lnTo>
                <a:pt x="5522117"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7B10B61-0933-49D5-9F06-7E2744C55194}">
      <dsp:nvSpPr>
        <dsp:cNvPr id="0" name=""/>
        <dsp:cNvSpPr/>
      </dsp:nvSpPr>
      <dsp:spPr>
        <a:xfrm>
          <a:off x="7531443" y="1577121"/>
          <a:ext cx="102103" cy="1657522"/>
        </a:xfrm>
        <a:custGeom>
          <a:avLst/>
          <a:gdLst/>
          <a:ahLst/>
          <a:cxnLst/>
          <a:rect l="0" t="0" r="0" b="0"/>
          <a:pathLst>
            <a:path>
              <a:moveTo>
                <a:pt x="102103" y="0"/>
              </a:moveTo>
              <a:lnTo>
                <a:pt x="0" y="165752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B9B1158-72D8-4646-84DD-EF716B116A0C}">
      <dsp:nvSpPr>
        <dsp:cNvPr id="0" name=""/>
        <dsp:cNvSpPr/>
      </dsp:nvSpPr>
      <dsp:spPr>
        <a:xfrm>
          <a:off x="7531443" y="1577121"/>
          <a:ext cx="102103" cy="1017319"/>
        </a:xfrm>
        <a:custGeom>
          <a:avLst/>
          <a:gdLst/>
          <a:ahLst/>
          <a:cxnLst/>
          <a:rect l="0" t="0" r="0" b="0"/>
          <a:pathLst>
            <a:path>
              <a:moveTo>
                <a:pt x="102103" y="0"/>
              </a:moveTo>
              <a:lnTo>
                <a:pt x="0" y="101731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DC3783D-00DF-4D73-BC7D-A41DFB3A67B6}">
      <dsp:nvSpPr>
        <dsp:cNvPr id="0" name=""/>
        <dsp:cNvSpPr/>
      </dsp:nvSpPr>
      <dsp:spPr>
        <a:xfrm>
          <a:off x="7485399" y="1577121"/>
          <a:ext cx="148148" cy="377121"/>
        </a:xfrm>
        <a:custGeom>
          <a:avLst/>
          <a:gdLst/>
          <a:ahLst/>
          <a:cxnLst/>
          <a:rect l="0" t="0" r="0" b="0"/>
          <a:pathLst>
            <a:path>
              <a:moveTo>
                <a:pt x="148148" y="0"/>
              </a:moveTo>
              <a:lnTo>
                <a:pt x="0" y="37712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8577E6-9F61-4368-8C6C-6BFE825C8CCF}">
      <dsp:nvSpPr>
        <dsp:cNvPr id="0" name=""/>
        <dsp:cNvSpPr/>
      </dsp:nvSpPr>
      <dsp:spPr>
        <a:xfrm>
          <a:off x="5305616" y="776246"/>
          <a:ext cx="3206332" cy="91440"/>
        </a:xfrm>
        <a:custGeom>
          <a:avLst/>
          <a:gdLst/>
          <a:ahLst/>
          <a:cxnLst/>
          <a:rect l="0" t="0" r="0" b="0"/>
          <a:pathLst>
            <a:path>
              <a:moveTo>
                <a:pt x="0" y="45720"/>
              </a:moveTo>
              <a:lnTo>
                <a:pt x="3206332" y="45720"/>
              </a:lnTo>
              <a:lnTo>
                <a:pt x="3206332"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023BEAD-FFE1-4FE2-87DF-FBE8E5BE29A9}">
      <dsp:nvSpPr>
        <dsp:cNvPr id="0" name=""/>
        <dsp:cNvSpPr/>
      </dsp:nvSpPr>
      <dsp:spPr>
        <a:xfrm>
          <a:off x="5021149" y="1438198"/>
          <a:ext cx="91440" cy="1903485"/>
        </a:xfrm>
        <a:custGeom>
          <a:avLst/>
          <a:gdLst/>
          <a:ahLst/>
          <a:cxnLst/>
          <a:rect l="0" t="0" r="0" b="0"/>
          <a:pathLst>
            <a:path>
              <a:moveTo>
                <a:pt x="117914" y="0"/>
              </a:moveTo>
              <a:lnTo>
                <a:pt x="45720" y="190348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292BEEF-ED59-4044-B99B-DC4347476C93}">
      <dsp:nvSpPr>
        <dsp:cNvPr id="0" name=""/>
        <dsp:cNvSpPr/>
      </dsp:nvSpPr>
      <dsp:spPr>
        <a:xfrm>
          <a:off x="5029694" y="1438198"/>
          <a:ext cx="91440" cy="1192191"/>
        </a:xfrm>
        <a:custGeom>
          <a:avLst/>
          <a:gdLst/>
          <a:ahLst/>
          <a:cxnLst/>
          <a:rect l="0" t="0" r="0" b="0"/>
          <a:pathLst>
            <a:path>
              <a:moveTo>
                <a:pt x="109368" y="0"/>
              </a:moveTo>
              <a:lnTo>
                <a:pt x="45720" y="11921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233F8A3-3DD8-405A-B709-2177E2199FEB}">
      <dsp:nvSpPr>
        <dsp:cNvPr id="0" name=""/>
        <dsp:cNvSpPr/>
      </dsp:nvSpPr>
      <dsp:spPr>
        <a:xfrm>
          <a:off x="5012837" y="1438198"/>
          <a:ext cx="91440" cy="427055"/>
        </a:xfrm>
        <a:custGeom>
          <a:avLst/>
          <a:gdLst/>
          <a:ahLst/>
          <a:cxnLst/>
          <a:rect l="0" t="0" r="0" b="0"/>
          <a:pathLst>
            <a:path>
              <a:moveTo>
                <a:pt x="126225" y="0"/>
              </a:moveTo>
              <a:lnTo>
                <a:pt x="45720" y="4270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B2D542-C665-4A27-AB65-BE2D43E07D73}">
      <dsp:nvSpPr>
        <dsp:cNvPr id="0" name=""/>
        <dsp:cNvSpPr/>
      </dsp:nvSpPr>
      <dsp:spPr>
        <a:xfrm>
          <a:off x="5305616" y="776246"/>
          <a:ext cx="711848" cy="91440"/>
        </a:xfrm>
        <a:custGeom>
          <a:avLst/>
          <a:gdLst/>
          <a:ahLst/>
          <a:cxnLst/>
          <a:rect l="0" t="0" r="0" b="0"/>
          <a:pathLst>
            <a:path>
              <a:moveTo>
                <a:pt x="0" y="45720"/>
              </a:moveTo>
              <a:lnTo>
                <a:pt x="711848" y="45720"/>
              </a:lnTo>
              <a:lnTo>
                <a:pt x="711848" y="11034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A2B68C-81AE-484B-AA25-5AD1DD9964D7}">
      <dsp:nvSpPr>
        <dsp:cNvPr id="0" name=""/>
        <dsp:cNvSpPr/>
      </dsp:nvSpPr>
      <dsp:spPr>
        <a:xfrm>
          <a:off x="4443262" y="1403723"/>
          <a:ext cx="91440" cy="3417613"/>
        </a:xfrm>
        <a:custGeom>
          <a:avLst/>
          <a:gdLst/>
          <a:ahLst/>
          <a:cxnLst/>
          <a:rect l="0" t="0" r="0" b="0"/>
          <a:pathLst>
            <a:path>
              <a:moveTo>
                <a:pt x="45720" y="0"/>
              </a:moveTo>
              <a:lnTo>
                <a:pt x="126072" y="341761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5BFC48D-BBC2-4AA7-84DF-E08D387E4BEE}">
      <dsp:nvSpPr>
        <dsp:cNvPr id="0" name=""/>
        <dsp:cNvSpPr/>
      </dsp:nvSpPr>
      <dsp:spPr>
        <a:xfrm>
          <a:off x="4443262" y="1403723"/>
          <a:ext cx="91440" cy="2894294"/>
        </a:xfrm>
        <a:custGeom>
          <a:avLst/>
          <a:gdLst/>
          <a:ahLst/>
          <a:cxnLst/>
          <a:rect l="0" t="0" r="0" b="0"/>
          <a:pathLst>
            <a:path>
              <a:moveTo>
                <a:pt x="45720" y="0"/>
              </a:moveTo>
              <a:lnTo>
                <a:pt x="90402" y="289429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A812832-9151-4475-AEEE-997AAEA180DD}">
      <dsp:nvSpPr>
        <dsp:cNvPr id="0" name=""/>
        <dsp:cNvSpPr/>
      </dsp:nvSpPr>
      <dsp:spPr>
        <a:xfrm>
          <a:off x="4443262" y="1403723"/>
          <a:ext cx="91440" cy="2366643"/>
        </a:xfrm>
        <a:custGeom>
          <a:avLst/>
          <a:gdLst/>
          <a:ahLst/>
          <a:cxnLst/>
          <a:rect l="0" t="0" r="0" b="0"/>
          <a:pathLst>
            <a:path>
              <a:moveTo>
                <a:pt x="45720" y="0"/>
              </a:moveTo>
              <a:lnTo>
                <a:pt x="90402" y="236664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C19CDE8-1619-435F-BE8B-2AB153E85879}">
      <dsp:nvSpPr>
        <dsp:cNvPr id="0" name=""/>
        <dsp:cNvSpPr/>
      </dsp:nvSpPr>
      <dsp:spPr>
        <a:xfrm>
          <a:off x="4443262" y="1403723"/>
          <a:ext cx="91440" cy="1838988"/>
        </a:xfrm>
        <a:custGeom>
          <a:avLst/>
          <a:gdLst/>
          <a:ahLst/>
          <a:cxnLst/>
          <a:rect l="0" t="0" r="0" b="0"/>
          <a:pathLst>
            <a:path>
              <a:moveTo>
                <a:pt x="45720" y="0"/>
              </a:moveTo>
              <a:lnTo>
                <a:pt x="90402" y="183898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20E2316-F1C9-4B58-809C-37D7B49498A8}">
      <dsp:nvSpPr>
        <dsp:cNvPr id="0" name=""/>
        <dsp:cNvSpPr/>
      </dsp:nvSpPr>
      <dsp:spPr>
        <a:xfrm>
          <a:off x="4443262" y="1403723"/>
          <a:ext cx="91440" cy="1306997"/>
        </a:xfrm>
        <a:custGeom>
          <a:avLst/>
          <a:gdLst/>
          <a:ahLst/>
          <a:cxnLst/>
          <a:rect l="0" t="0" r="0" b="0"/>
          <a:pathLst>
            <a:path>
              <a:moveTo>
                <a:pt x="45720" y="0"/>
              </a:moveTo>
              <a:lnTo>
                <a:pt x="89889" y="130699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126E7ED-1EFB-4DC7-B93C-A509EDCFECC6}">
      <dsp:nvSpPr>
        <dsp:cNvPr id="0" name=""/>
        <dsp:cNvSpPr/>
      </dsp:nvSpPr>
      <dsp:spPr>
        <a:xfrm>
          <a:off x="4443262" y="1403723"/>
          <a:ext cx="91440" cy="776250"/>
        </a:xfrm>
        <a:custGeom>
          <a:avLst/>
          <a:gdLst/>
          <a:ahLst/>
          <a:cxnLst/>
          <a:rect l="0" t="0" r="0" b="0"/>
          <a:pathLst>
            <a:path>
              <a:moveTo>
                <a:pt x="45720" y="0"/>
              </a:moveTo>
              <a:lnTo>
                <a:pt x="89889" y="77625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B68F40B-CA34-4933-9B66-DF0F8E5E033E}">
      <dsp:nvSpPr>
        <dsp:cNvPr id="0" name=""/>
        <dsp:cNvSpPr/>
      </dsp:nvSpPr>
      <dsp:spPr>
        <a:xfrm>
          <a:off x="4443262" y="1403723"/>
          <a:ext cx="91440" cy="278315"/>
        </a:xfrm>
        <a:custGeom>
          <a:avLst/>
          <a:gdLst/>
          <a:ahLst/>
          <a:cxnLst/>
          <a:rect l="0" t="0" r="0" b="0"/>
          <a:pathLst>
            <a:path>
              <a:moveTo>
                <a:pt x="45720" y="0"/>
              </a:moveTo>
              <a:lnTo>
                <a:pt x="89889" y="27831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158FBDA-FE80-481D-A683-1087A6297DF7}">
      <dsp:nvSpPr>
        <dsp:cNvPr id="0" name=""/>
        <dsp:cNvSpPr/>
      </dsp:nvSpPr>
      <dsp:spPr>
        <a:xfrm>
          <a:off x="3610581" y="776246"/>
          <a:ext cx="1695035" cy="91440"/>
        </a:xfrm>
        <a:custGeom>
          <a:avLst/>
          <a:gdLst/>
          <a:ahLst/>
          <a:cxnLst/>
          <a:rect l="0" t="0" r="0" b="0"/>
          <a:pathLst>
            <a:path>
              <a:moveTo>
                <a:pt x="1695035" y="45720"/>
              </a:moveTo>
              <a:lnTo>
                <a:pt x="0" y="45720"/>
              </a:lnTo>
              <a:lnTo>
                <a:pt x="0" y="11034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DA0D309-749C-449A-8DB4-EAF8CCA3E67D}">
      <dsp:nvSpPr>
        <dsp:cNvPr id="0" name=""/>
        <dsp:cNvSpPr/>
      </dsp:nvSpPr>
      <dsp:spPr>
        <a:xfrm>
          <a:off x="1899965" y="1499617"/>
          <a:ext cx="91440" cy="3279485"/>
        </a:xfrm>
        <a:custGeom>
          <a:avLst/>
          <a:gdLst/>
          <a:ahLst/>
          <a:cxnLst/>
          <a:rect l="0" t="0" r="0" b="0"/>
          <a:pathLst>
            <a:path>
              <a:moveTo>
                <a:pt x="76437" y="0"/>
              </a:moveTo>
              <a:lnTo>
                <a:pt x="76437" y="3279485"/>
              </a:lnTo>
              <a:lnTo>
                <a:pt x="45720" y="327948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8F6A058-7E48-4D72-99DA-87A83BD6629F}">
      <dsp:nvSpPr>
        <dsp:cNvPr id="0" name=""/>
        <dsp:cNvSpPr/>
      </dsp:nvSpPr>
      <dsp:spPr>
        <a:xfrm>
          <a:off x="1899965" y="1499617"/>
          <a:ext cx="91440" cy="2515417"/>
        </a:xfrm>
        <a:custGeom>
          <a:avLst/>
          <a:gdLst/>
          <a:ahLst/>
          <a:cxnLst/>
          <a:rect l="0" t="0" r="0" b="0"/>
          <a:pathLst>
            <a:path>
              <a:moveTo>
                <a:pt x="76437" y="0"/>
              </a:moveTo>
              <a:lnTo>
                <a:pt x="76437" y="2515417"/>
              </a:lnTo>
              <a:lnTo>
                <a:pt x="45720" y="251541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74B3E2F-8466-4A4D-AA59-72F2C06F9895}">
      <dsp:nvSpPr>
        <dsp:cNvPr id="0" name=""/>
        <dsp:cNvSpPr/>
      </dsp:nvSpPr>
      <dsp:spPr>
        <a:xfrm>
          <a:off x="1899965" y="1499617"/>
          <a:ext cx="91440" cy="1842125"/>
        </a:xfrm>
        <a:custGeom>
          <a:avLst/>
          <a:gdLst/>
          <a:ahLst/>
          <a:cxnLst/>
          <a:rect l="0" t="0" r="0" b="0"/>
          <a:pathLst>
            <a:path>
              <a:moveTo>
                <a:pt x="76437" y="0"/>
              </a:moveTo>
              <a:lnTo>
                <a:pt x="76437" y="1842125"/>
              </a:lnTo>
              <a:lnTo>
                <a:pt x="45720" y="184212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4E373CE-42B0-47C0-B6D5-3083549CC155}">
      <dsp:nvSpPr>
        <dsp:cNvPr id="0" name=""/>
        <dsp:cNvSpPr/>
      </dsp:nvSpPr>
      <dsp:spPr>
        <a:xfrm>
          <a:off x="1899965" y="1499617"/>
          <a:ext cx="91440" cy="1319991"/>
        </a:xfrm>
        <a:custGeom>
          <a:avLst/>
          <a:gdLst/>
          <a:ahLst/>
          <a:cxnLst/>
          <a:rect l="0" t="0" r="0" b="0"/>
          <a:pathLst>
            <a:path>
              <a:moveTo>
                <a:pt x="76437" y="0"/>
              </a:moveTo>
              <a:lnTo>
                <a:pt x="76437" y="1319991"/>
              </a:lnTo>
              <a:lnTo>
                <a:pt x="45720" y="13199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AA3C3BF-7366-4C82-8833-2DCCDBBFBA6C}">
      <dsp:nvSpPr>
        <dsp:cNvPr id="0" name=""/>
        <dsp:cNvSpPr/>
      </dsp:nvSpPr>
      <dsp:spPr>
        <a:xfrm>
          <a:off x="1899965" y="1499617"/>
          <a:ext cx="91440" cy="797853"/>
        </a:xfrm>
        <a:custGeom>
          <a:avLst/>
          <a:gdLst/>
          <a:ahLst/>
          <a:cxnLst/>
          <a:rect l="0" t="0" r="0" b="0"/>
          <a:pathLst>
            <a:path>
              <a:moveTo>
                <a:pt x="76437" y="0"/>
              </a:moveTo>
              <a:lnTo>
                <a:pt x="76437" y="797853"/>
              </a:lnTo>
              <a:lnTo>
                <a:pt x="45720" y="7978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2ADB7DE-FFDE-43B9-98C0-716921DBE890}">
      <dsp:nvSpPr>
        <dsp:cNvPr id="0" name=""/>
        <dsp:cNvSpPr/>
      </dsp:nvSpPr>
      <dsp:spPr>
        <a:xfrm>
          <a:off x="1899965" y="1499617"/>
          <a:ext cx="91440" cy="277292"/>
        </a:xfrm>
        <a:custGeom>
          <a:avLst/>
          <a:gdLst/>
          <a:ahLst/>
          <a:cxnLst/>
          <a:rect l="0" t="0" r="0" b="0"/>
          <a:pathLst>
            <a:path>
              <a:moveTo>
                <a:pt x="76437" y="0"/>
              </a:moveTo>
              <a:lnTo>
                <a:pt x="76437" y="277292"/>
              </a:lnTo>
              <a:lnTo>
                <a:pt x="45720" y="27729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E7B0CDF-331C-43D7-B14C-4D2214ECC84C}">
      <dsp:nvSpPr>
        <dsp:cNvPr id="0" name=""/>
        <dsp:cNvSpPr/>
      </dsp:nvSpPr>
      <dsp:spPr>
        <a:xfrm>
          <a:off x="1098001" y="776246"/>
          <a:ext cx="4207614" cy="91440"/>
        </a:xfrm>
        <a:custGeom>
          <a:avLst/>
          <a:gdLst/>
          <a:ahLst/>
          <a:cxnLst/>
          <a:rect l="0" t="0" r="0" b="0"/>
          <a:pathLst>
            <a:path>
              <a:moveTo>
                <a:pt x="4207614" y="45720"/>
              </a:moveTo>
              <a:lnTo>
                <a:pt x="0" y="45720"/>
              </a:lnTo>
              <a:lnTo>
                <a:pt x="0"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9E37B58-C84D-4333-9EB6-FEA63F667BD6}">
      <dsp:nvSpPr>
        <dsp:cNvPr id="0" name=""/>
        <dsp:cNvSpPr/>
      </dsp:nvSpPr>
      <dsp:spPr>
        <a:xfrm>
          <a:off x="131116" y="0"/>
          <a:ext cx="10349000" cy="821966"/>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1" kern="1200" dirty="0" smtClean="0">
              <a:solidFill>
                <a:sysClr val="window" lastClr="FFFFFF"/>
              </a:solidFill>
              <a:latin typeface="Lato"/>
              <a:ea typeface="+mn-ea"/>
              <a:cs typeface="+mn-cs"/>
            </a:rPr>
            <a:t>Problem Statement  Strategic Support:</a:t>
          </a:r>
        </a:p>
        <a:p>
          <a:pPr lvl="0" algn="ctr" defTabSz="711200">
            <a:lnSpc>
              <a:spcPct val="90000"/>
            </a:lnSpc>
            <a:spcBef>
              <a:spcPct val="0"/>
            </a:spcBef>
            <a:spcAft>
              <a:spcPct val="35000"/>
            </a:spcAft>
          </a:pPr>
          <a:r>
            <a:rPr lang="en-ZA" sz="1600" b="1" kern="1200" dirty="0" smtClean="0">
              <a:solidFill>
                <a:sysClr val="window" lastClr="FFFFFF"/>
              </a:solidFill>
              <a:latin typeface="Lato"/>
              <a:ea typeface="+mn-ea"/>
              <a:cs typeface="+mn-cs"/>
            </a:rPr>
            <a:t>Lack of an enabling environment that supports service delivery  excellence  </a:t>
          </a:r>
          <a:endParaRPr lang="en-GB" sz="1600" b="1" kern="1200" dirty="0">
            <a:solidFill>
              <a:sysClr val="window" lastClr="FFFFFF"/>
            </a:solidFill>
            <a:latin typeface="Lato"/>
            <a:ea typeface="+mn-ea"/>
            <a:cs typeface="+mn-cs"/>
          </a:endParaRPr>
        </a:p>
      </dsp:txBody>
      <dsp:txXfrm>
        <a:off x="131116" y="0"/>
        <a:ext cx="10349000" cy="821966"/>
      </dsp:txXfrm>
    </dsp:sp>
    <dsp:sp modelId="{5C9EBB69-F299-433C-9832-400183B089DB}">
      <dsp:nvSpPr>
        <dsp:cNvPr id="0" name=""/>
        <dsp:cNvSpPr/>
      </dsp:nvSpPr>
      <dsp:spPr>
        <a:xfrm>
          <a:off x="0" y="887615"/>
          <a:ext cx="2196003" cy="612001"/>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Direct cause:</a:t>
          </a:r>
        </a:p>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Lack of  integrate business information for informed decision making</a:t>
          </a:r>
          <a:endParaRPr lang="en-GB" sz="1000" b="1" kern="1200" dirty="0">
            <a:solidFill>
              <a:sysClr val="windowText" lastClr="000000"/>
            </a:solidFill>
            <a:latin typeface="Lato"/>
            <a:ea typeface="+mn-ea"/>
            <a:cs typeface="+mn-cs"/>
          </a:endParaRPr>
        </a:p>
      </dsp:txBody>
      <dsp:txXfrm>
        <a:off x="0" y="887615"/>
        <a:ext cx="2196003" cy="612001"/>
      </dsp:txXfrm>
    </dsp:sp>
    <dsp:sp modelId="{EC6C2DB6-0354-41F7-B81C-792F0FA9A4EE}">
      <dsp:nvSpPr>
        <dsp:cNvPr id="0" name=""/>
        <dsp:cNvSpPr/>
      </dsp:nvSpPr>
      <dsp:spPr>
        <a:xfrm>
          <a:off x="87527" y="15515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ata is maintained in multiple systems that are not integrated</a:t>
          </a:r>
          <a:endParaRPr lang="en-GB" sz="1000" kern="1200" dirty="0">
            <a:solidFill>
              <a:sysClr val="windowText" lastClr="000000"/>
            </a:solidFill>
            <a:latin typeface="Lato"/>
            <a:ea typeface="+mn-ea"/>
            <a:cs typeface="+mn-cs"/>
          </a:endParaRPr>
        </a:p>
      </dsp:txBody>
      <dsp:txXfrm>
        <a:off x="87527" y="1551552"/>
        <a:ext cx="1858157" cy="450713"/>
      </dsp:txXfrm>
    </dsp:sp>
    <dsp:sp modelId="{CF73B623-D36E-4A4E-8B66-62BC3E50EC0C}">
      <dsp:nvSpPr>
        <dsp:cNvPr id="0" name=""/>
        <dsp:cNvSpPr/>
      </dsp:nvSpPr>
      <dsp:spPr>
        <a:xfrm>
          <a:off x="87527" y="2072113"/>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Manual systems that are prone to human error, high security risks</a:t>
          </a:r>
          <a:endParaRPr lang="en-GB" sz="1000" kern="1200" dirty="0" smtClean="0">
            <a:solidFill>
              <a:sysClr val="windowText" lastClr="000000"/>
            </a:solidFill>
            <a:latin typeface="Lato"/>
            <a:ea typeface="+mn-ea"/>
            <a:cs typeface="+mn-cs"/>
          </a:endParaRPr>
        </a:p>
      </dsp:txBody>
      <dsp:txXfrm>
        <a:off x="87527" y="2072113"/>
        <a:ext cx="1858157" cy="450713"/>
      </dsp:txXfrm>
    </dsp:sp>
    <dsp:sp modelId="{C91CBDDB-C61F-488B-86C6-4EEFDF3ED038}">
      <dsp:nvSpPr>
        <dsp:cNvPr id="0" name=""/>
        <dsp:cNvSpPr/>
      </dsp:nvSpPr>
      <dsp:spPr>
        <a:xfrm>
          <a:off x="87527" y="25942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GB" sz="1100" kern="1200" dirty="0" smtClean="0">
              <a:solidFill>
                <a:sysClr val="windowText" lastClr="000000"/>
              </a:solidFill>
              <a:latin typeface="Lato"/>
              <a:ea typeface="+mn-ea"/>
              <a:cs typeface="+mn-cs"/>
            </a:rPr>
            <a:t>Inadequate ICT connectivity (bandwidth)</a:t>
          </a:r>
        </a:p>
      </dsp:txBody>
      <dsp:txXfrm>
        <a:off x="87527" y="2594252"/>
        <a:ext cx="1858157" cy="450713"/>
      </dsp:txXfrm>
    </dsp:sp>
    <dsp:sp modelId="{4F5D1301-39C3-4858-B8EF-E38A066270C0}">
      <dsp:nvSpPr>
        <dsp:cNvPr id="0" name=""/>
        <dsp:cNvSpPr/>
      </dsp:nvSpPr>
      <dsp:spPr>
        <a:xfrm>
          <a:off x="87527" y="3116386"/>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Old infrastructure that is obsolete</a:t>
          </a:r>
          <a:endParaRPr lang="en-GB" sz="1200" kern="1200" dirty="0" smtClean="0">
            <a:solidFill>
              <a:sysClr val="windowText" lastClr="000000"/>
            </a:solidFill>
            <a:latin typeface="Lato"/>
            <a:ea typeface="+mn-ea"/>
            <a:cs typeface="+mn-cs"/>
          </a:endParaRPr>
        </a:p>
      </dsp:txBody>
      <dsp:txXfrm>
        <a:off x="87527" y="3116386"/>
        <a:ext cx="1858157" cy="450713"/>
      </dsp:txXfrm>
    </dsp:sp>
    <dsp:sp modelId="{F2BD23BC-2E0A-441B-BE28-E14725F51793}">
      <dsp:nvSpPr>
        <dsp:cNvPr id="0" name=""/>
        <dsp:cNvSpPr/>
      </dsp:nvSpPr>
      <dsp:spPr>
        <a:xfrm>
          <a:off x="87527" y="3713112"/>
          <a:ext cx="1858157" cy="60384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Lack of  security technology standard to meet functional requirements</a:t>
          </a:r>
          <a:endParaRPr lang="en-GB" sz="1050" kern="1200" dirty="0" smtClean="0">
            <a:solidFill>
              <a:sysClr val="windowText" lastClr="000000"/>
            </a:solidFill>
            <a:latin typeface="Lato"/>
            <a:ea typeface="+mn-ea"/>
            <a:cs typeface="+mn-cs"/>
          </a:endParaRPr>
        </a:p>
      </dsp:txBody>
      <dsp:txXfrm>
        <a:off x="87527" y="3713112"/>
        <a:ext cx="1858157" cy="603843"/>
      </dsp:txXfrm>
    </dsp:sp>
    <dsp:sp modelId="{B0363488-F9A3-4DD4-BCDF-D8D2C1C53362}">
      <dsp:nvSpPr>
        <dsp:cNvPr id="0" name=""/>
        <dsp:cNvSpPr/>
      </dsp:nvSpPr>
      <dsp:spPr>
        <a:xfrm>
          <a:off x="87527" y="4388381"/>
          <a:ext cx="1858157" cy="78144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ysfunctional and ineffective of Security Technology (no integration between Information Network and Security Technology)</a:t>
          </a:r>
          <a:endParaRPr lang="en-GB" sz="1000" kern="1200" dirty="0" smtClean="0">
            <a:solidFill>
              <a:sysClr val="windowText" lastClr="000000"/>
            </a:solidFill>
            <a:latin typeface="Lato"/>
            <a:ea typeface="+mn-ea"/>
            <a:cs typeface="+mn-cs"/>
          </a:endParaRPr>
        </a:p>
      </dsp:txBody>
      <dsp:txXfrm>
        <a:off x="87527" y="4388381"/>
        <a:ext cx="1858157" cy="781442"/>
      </dsp:txXfrm>
    </dsp:sp>
    <dsp:sp modelId="{7D987F92-7D35-4143-98F0-7F550C1854D0}">
      <dsp:nvSpPr>
        <dsp:cNvPr id="0" name=""/>
        <dsp:cNvSpPr/>
      </dsp:nvSpPr>
      <dsp:spPr>
        <a:xfrm>
          <a:off x="2512579" y="886592"/>
          <a:ext cx="2196003" cy="51713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Direct cause:</a:t>
          </a:r>
        </a:p>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Inadequate organisational  capacity</a:t>
          </a:r>
          <a:endParaRPr lang="en-GB" sz="1100" b="1" kern="1200" dirty="0">
            <a:solidFill>
              <a:sysClr val="windowText" lastClr="000000"/>
            </a:solidFill>
            <a:latin typeface="Lato"/>
            <a:ea typeface="+mn-ea"/>
            <a:cs typeface="+mn-cs"/>
          </a:endParaRPr>
        </a:p>
      </dsp:txBody>
      <dsp:txXfrm>
        <a:off x="2512579" y="886592"/>
        <a:ext cx="2196003" cy="517130"/>
      </dsp:txXfrm>
    </dsp:sp>
    <dsp:sp modelId="{7DE978DE-FDD4-4585-A148-67512926481F}">
      <dsp:nvSpPr>
        <dsp:cNvPr id="0" name=""/>
        <dsp:cNvSpPr/>
      </dsp:nvSpPr>
      <dsp:spPr>
        <a:xfrm>
          <a:off x="2577198" y="1456682"/>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Poor recruitment and retention strategy</a:t>
          </a:r>
          <a:endParaRPr lang="en-GB" sz="1200" kern="1200" dirty="0">
            <a:solidFill>
              <a:sysClr val="windowText" lastClr="000000"/>
            </a:solidFill>
            <a:latin typeface="Lato"/>
            <a:ea typeface="+mn-ea"/>
            <a:cs typeface="+mn-cs"/>
          </a:endParaRPr>
        </a:p>
      </dsp:txBody>
      <dsp:txXfrm>
        <a:off x="2577198" y="1456682"/>
        <a:ext cx="1955953" cy="450713"/>
      </dsp:txXfrm>
    </dsp:sp>
    <dsp:sp modelId="{95060CD5-E72B-43E3-AE00-28ED9DE85B01}">
      <dsp:nvSpPr>
        <dsp:cNvPr id="0" name=""/>
        <dsp:cNvSpPr/>
      </dsp:nvSpPr>
      <dsp:spPr>
        <a:xfrm>
          <a:off x="2577198" y="1954617"/>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Non-compliance with employment equity targets and AA measures</a:t>
          </a:r>
          <a:endParaRPr lang="en-GB" sz="1000" kern="1200" dirty="0">
            <a:solidFill>
              <a:sysClr val="windowText" lastClr="000000"/>
            </a:solidFill>
            <a:latin typeface="Lato"/>
            <a:ea typeface="+mn-ea"/>
            <a:cs typeface="+mn-cs"/>
          </a:endParaRPr>
        </a:p>
      </dsp:txBody>
      <dsp:txXfrm>
        <a:off x="2577198" y="1954617"/>
        <a:ext cx="1955953" cy="450713"/>
      </dsp:txXfrm>
    </dsp:sp>
    <dsp:sp modelId="{175ADE88-AD71-4BAF-A40D-557E80A72AF6}">
      <dsp:nvSpPr>
        <dsp:cNvPr id="0" name=""/>
        <dsp:cNvSpPr/>
      </dsp:nvSpPr>
      <dsp:spPr>
        <a:xfrm>
          <a:off x="2577198" y="2485364"/>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Organisational structure not aligned to mandate</a:t>
          </a:r>
          <a:endParaRPr lang="en-GB" sz="1000" kern="1200" dirty="0">
            <a:solidFill>
              <a:sysClr val="windowText" lastClr="000000"/>
            </a:solidFill>
            <a:latin typeface="Lato"/>
            <a:ea typeface="+mn-ea"/>
            <a:cs typeface="+mn-cs"/>
          </a:endParaRPr>
        </a:p>
      </dsp:txBody>
      <dsp:txXfrm>
        <a:off x="2577198" y="2485364"/>
        <a:ext cx="1955953" cy="450713"/>
      </dsp:txXfrm>
    </dsp:sp>
    <dsp:sp modelId="{356B3328-D764-40AC-8224-7C581170E4AA}">
      <dsp:nvSpPr>
        <dsp:cNvPr id="0" name=""/>
        <dsp:cNvSpPr/>
      </dsp:nvSpPr>
      <dsp:spPr>
        <a:xfrm>
          <a:off x="2577712" y="3017355"/>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Inadequate resourcing of the colleges </a:t>
          </a:r>
          <a:endParaRPr lang="en-GB" sz="1100" kern="1200" dirty="0">
            <a:solidFill>
              <a:sysClr val="windowText" lastClr="000000"/>
            </a:solidFill>
            <a:latin typeface="Lato"/>
            <a:ea typeface="+mn-ea"/>
            <a:cs typeface="+mn-cs"/>
          </a:endParaRPr>
        </a:p>
      </dsp:txBody>
      <dsp:txXfrm>
        <a:off x="2577712" y="3017355"/>
        <a:ext cx="1955953" cy="450713"/>
      </dsp:txXfrm>
    </dsp:sp>
    <dsp:sp modelId="{0E5ADF65-7528-4E6B-A814-7FD4CDCBAEB0}">
      <dsp:nvSpPr>
        <dsp:cNvPr id="0" name=""/>
        <dsp:cNvSpPr/>
      </dsp:nvSpPr>
      <dsp:spPr>
        <a:xfrm>
          <a:off x="2577712" y="354501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kern="1200" dirty="0" smtClean="0">
              <a:solidFill>
                <a:sysClr val="windowText" lastClr="000000"/>
              </a:solidFill>
              <a:latin typeface="Lato"/>
              <a:ea typeface="+mn-ea"/>
              <a:cs typeface="+mn-cs"/>
            </a:rPr>
            <a:t>Inconsistent implementation of HR directives  </a:t>
          </a:r>
          <a:endParaRPr lang="en-GB" sz="1050" kern="1200" dirty="0">
            <a:solidFill>
              <a:sysClr val="windowText" lastClr="000000"/>
            </a:solidFill>
            <a:latin typeface="Lato"/>
            <a:ea typeface="+mn-ea"/>
            <a:cs typeface="+mn-cs"/>
          </a:endParaRPr>
        </a:p>
      </dsp:txBody>
      <dsp:txXfrm>
        <a:off x="2577712" y="3545010"/>
        <a:ext cx="1955953" cy="450713"/>
      </dsp:txXfrm>
    </dsp:sp>
    <dsp:sp modelId="{F0F62E1F-8929-43B7-BB6A-F1C6E74066B2}">
      <dsp:nvSpPr>
        <dsp:cNvPr id="0" name=""/>
        <dsp:cNvSpPr/>
      </dsp:nvSpPr>
      <dsp:spPr>
        <a:xfrm>
          <a:off x="2577712" y="407266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Lack of uniform and appropriate shift system </a:t>
          </a:r>
          <a:endParaRPr lang="en-GB" sz="1100" kern="1200" dirty="0">
            <a:solidFill>
              <a:sysClr val="windowText" lastClr="000000"/>
            </a:solidFill>
            <a:latin typeface="Lato"/>
            <a:ea typeface="+mn-ea"/>
            <a:cs typeface="+mn-cs"/>
          </a:endParaRPr>
        </a:p>
      </dsp:txBody>
      <dsp:txXfrm>
        <a:off x="2577712" y="4072660"/>
        <a:ext cx="1955953" cy="450713"/>
      </dsp:txXfrm>
    </dsp:sp>
    <dsp:sp modelId="{3AE77575-B618-4540-A5D3-713314C05524}">
      <dsp:nvSpPr>
        <dsp:cNvPr id="0" name=""/>
        <dsp:cNvSpPr/>
      </dsp:nvSpPr>
      <dsp:spPr>
        <a:xfrm>
          <a:off x="2613381" y="459598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Inadequate investment in integrated employee health and wellness</a:t>
          </a:r>
          <a:endParaRPr lang="en-GB" sz="1100" kern="1200" dirty="0">
            <a:solidFill>
              <a:sysClr val="windowText" lastClr="000000"/>
            </a:solidFill>
            <a:latin typeface="Lato"/>
            <a:ea typeface="+mn-ea"/>
            <a:cs typeface="+mn-cs"/>
          </a:endParaRPr>
        </a:p>
      </dsp:txBody>
      <dsp:txXfrm>
        <a:off x="2613381" y="4595980"/>
        <a:ext cx="1955953" cy="450713"/>
      </dsp:txXfrm>
    </dsp:sp>
    <dsp:sp modelId="{20A39BFD-AC94-4833-AAAF-948F81E52002}">
      <dsp:nvSpPr>
        <dsp:cNvPr id="0" name=""/>
        <dsp:cNvSpPr/>
      </dsp:nvSpPr>
      <dsp:spPr>
        <a:xfrm>
          <a:off x="4919463" y="886592"/>
          <a:ext cx="2196003" cy="5516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Direct cause:</a:t>
          </a:r>
        </a:p>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Lowly skilled staff</a:t>
          </a:r>
          <a:endParaRPr lang="en-GB" sz="1400" b="1" kern="1200" dirty="0">
            <a:solidFill>
              <a:sysClr val="windowText" lastClr="000000"/>
            </a:solidFill>
            <a:latin typeface="Lato"/>
            <a:ea typeface="+mn-ea"/>
            <a:cs typeface="+mn-cs"/>
          </a:endParaRPr>
        </a:p>
      </dsp:txBody>
      <dsp:txXfrm>
        <a:off x="4919463" y="886592"/>
        <a:ext cx="2196003" cy="551606"/>
      </dsp:txXfrm>
    </dsp:sp>
    <dsp:sp modelId="{F0663EE5-7143-42B2-A6AE-F82AA7D88908}">
      <dsp:nvSpPr>
        <dsp:cNvPr id="0" name=""/>
        <dsp:cNvSpPr/>
      </dsp:nvSpPr>
      <dsp:spPr>
        <a:xfrm>
          <a:off x="5058557" y="1527813"/>
          <a:ext cx="2027076" cy="67488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training and leadership development</a:t>
          </a:r>
          <a:endParaRPr lang="en-GB" sz="1200" kern="1200" dirty="0">
            <a:solidFill>
              <a:sysClr val="windowText" lastClr="000000"/>
            </a:solidFill>
            <a:latin typeface="Lato"/>
            <a:ea typeface="+mn-ea"/>
            <a:cs typeface="+mn-cs"/>
          </a:endParaRPr>
        </a:p>
      </dsp:txBody>
      <dsp:txXfrm>
        <a:off x="5058557" y="1527813"/>
        <a:ext cx="2027076" cy="674880"/>
      </dsp:txXfrm>
    </dsp:sp>
    <dsp:sp modelId="{679AFEB9-1304-4C46-92B9-D14908334993}">
      <dsp:nvSpPr>
        <dsp:cNvPr id="0" name=""/>
        <dsp:cNvSpPr/>
      </dsp:nvSpPr>
      <dsp:spPr>
        <a:xfrm>
          <a:off x="5075414" y="2310708"/>
          <a:ext cx="2027076" cy="6393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Lack of talent management strategy</a:t>
          </a:r>
          <a:endParaRPr lang="en-GB" sz="1200" kern="1200" dirty="0">
            <a:solidFill>
              <a:sysClr val="windowText" lastClr="000000"/>
            </a:solidFill>
            <a:latin typeface="Lato"/>
            <a:ea typeface="+mn-ea"/>
            <a:cs typeface="+mn-cs"/>
          </a:endParaRPr>
        </a:p>
      </dsp:txBody>
      <dsp:txXfrm>
        <a:off x="5075414" y="2310708"/>
        <a:ext cx="2027076" cy="639364"/>
      </dsp:txXfrm>
    </dsp:sp>
    <dsp:sp modelId="{F47BE956-BC37-4E68-8509-835266EF4509}">
      <dsp:nvSpPr>
        <dsp:cNvPr id="0" name=""/>
        <dsp:cNvSpPr/>
      </dsp:nvSpPr>
      <dsp:spPr>
        <a:xfrm>
          <a:off x="5066869" y="3021618"/>
          <a:ext cx="2027076" cy="64013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a:t>
          </a:r>
          <a:r>
            <a:rPr lang="en-ZA" sz="1200" kern="1200" dirty="0" err="1" smtClean="0">
              <a:solidFill>
                <a:sysClr val="windowText" lastClr="000000"/>
              </a:solidFill>
              <a:latin typeface="Lato"/>
              <a:ea typeface="+mn-ea"/>
              <a:cs typeface="+mn-cs"/>
            </a:rPr>
            <a:t>Covid</a:t>
          </a:r>
          <a:r>
            <a:rPr lang="en-ZA" sz="1200" kern="1200" dirty="0" smtClean="0">
              <a:solidFill>
                <a:sysClr val="windowText" lastClr="000000"/>
              </a:solidFill>
              <a:latin typeface="Lato"/>
              <a:ea typeface="+mn-ea"/>
              <a:cs typeface="+mn-cs"/>
            </a:rPr>
            <a:t> 19 awareness among officials</a:t>
          </a:r>
          <a:endParaRPr lang="en-GB" sz="1200" kern="1200" dirty="0">
            <a:solidFill>
              <a:sysClr val="windowText" lastClr="000000"/>
            </a:solidFill>
            <a:latin typeface="Lato"/>
            <a:ea typeface="+mn-ea"/>
            <a:cs typeface="+mn-cs"/>
          </a:endParaRPr>
        </a:p>
      </dsp:txBody>
      <dsp:txXfrm>
        <a:off x="5066869" y="3021618"/>
        <a:ext cx="2027076" cy="640130"/>
      </dsp:txXfrm>
    </dsp:sp>
    <dsp:sp modelId="{82EB6CB6-BC4E-4D4C-A10D-B3680BF7A7D2}">
      <dsp:nvSpPr>
        <dsp:cNvPr id="0" name=""/>
        <dsp:cNvSpPr/>
      </dsp:nvSpPr>
      <dsp:spPr>
        <a:xfrm>
          <a:off x="7413947" y="887615"/>
          <a:ext cx="2196003" cy="6895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b="1" kern="1200" dirty="0" smtClean="0">
              <a:solidFill>
                <a:sysClr val="windowText" lastClr="000000"/>
              </a:solidFill>
              <a:latin typeface="Lato"/>
              <a:ea typeface="+mn-ea"/>
              <a:cs typeface="+mn-cs"/>
            </a:rPr>
            <a:t>Direct cause:</a:t>
          </a:r>
        </a:p>
        <a:p>
          <a:pPr lvl="0" algn="ctr" defTabSz="466725">
            <a:lnSpc>
              <a:spcPct val="90000"/>
            </a:lnSpc>
            <a:spcBef>
              <a:spcPct val="0"/>
            </a:spcBef>
            <a:spcAft>
              <a:spcPct val="35000"/>
            </a:spcAft>
          </a:pPr>
          <a:r>
            <a:rPr lang="en-ZA" sz="1050" b="1" kern="1200" dirty="0" smtClean="0">
              <a:solidFill>
                <a:sysClr val="windowText" lastClr="000000"/>
              </a:solidFill>
              <a:latin typeface="Lato"/>
              <a:ea typeface="+mn-ea"/>
              <a:cs typeface="+mn-cs"/>
            </a:rPr>
            <a:t>Insufficient budget allocations for programmes and projects </a:t>
          </a:r>
          <a:endParaRPr lang="en-GB" sz="1050" b="1" kern="1200" dirty="0" smtClean="0">
            <a:solidFill>
              <a:sysClr val="windowText" lastClr="000000"/>
            </a:solidFill>
            <a:latin typeface="Lato"/>
            <a:ea typeface="+mn-ea"/>
            <a:cs typeface="+mn-cs"/>
          </a:endParaRPr>
        </a:p>
      </dsp:txBody>
      <dsp:txXfrm>
        <a:off x="7413947" y="887615"/>
        <a:ext cx="2196003" cy="689506"/>
      </dsp:txXfrm>
    </dsp:sp>
    <dsp:sp modelId="{0750D890-C529-4565-BAB3-D4A4004C9728}">
      <dsp:nvSpPr>
        <dsp:cNvPr id="0" name=""/>
        <dsp:cNvSpPr/>
      </dsp:nvSpPr>
      <dsp:spPr>
        <a:xfrm>
          <a:off x="7485399" y="1670081"/>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ysClr val="windowText" lastClr="000000"/>
              </a:solidFill>
              <a:latin typeface="Lato"/>
              <a:ea typeface="+mn-ea"/>
              <a:cs typeface="+mn-cs"/>
            </a:rPr>
            <a:t>Weak economic growth outlook</a:t>
          </a:r>
        </a:p>
      </dsp:txBody>
      <dsp:txXfrm>
        <a:off x="7485399" y="1670081"/>
        <a:ext cx="1955953" cy="568322"/>
      </dsp:txXfrm>
    </dsp:sp>
    <dsp:sp modelId="{6B26C1DA-C267-4CEE-A825-2498CB5CCDE4}">
      <dsp:nvSpPr>
        <dsp:cNvPr id="0" name=""/>
        <dsp:cNvSpPr/>
      </dsp:nvSpPr>
      <dsp:spPr>
        <a:xfrm>
          <a:off x="7531443" y="2310279"/>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Inadequate spending capacity in some expenditure line items</a:t>
          </a:r>
          <a:endParaRPr lang="en-GB" sz="1050" kern="1200" dirty="0" smtClean="0">
            <a:solidFill>
              <a:sysClr val="windowText" lastClr="000000"/>
            </a:solidFill>
            <a:latin typeface="Lato"/>
            <a:ea typeface="+mn-ea"/>
            <a:cs typeface="+mn-cs"/>
          </a:endParaRPr>
        </a:p>
      </dsp:txBody>
      <dsp:txXfrm>
        <a:off x="7531443" y="2310279"/>
        <a:ext cx="1955953" cy="568322"/>
      </dsp:txXfrm>
    </dsp:sp>
    <dsp:sp modelId="{9E15D32B-A159-4B43-91E5-E167856E33BF}">
      <dsp:nvSpPr>
        <dsp:cNvPr id="0" name=""/>
        <dsp:cNvSpPr/>
      </dsp:nvSpPr>
      <dsp:spPr>
        <a:xfrm>
          <a:off x="7531443" y="2950482"/>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Inadequate capital investment in production workshops and agriculture</a:t>
          </a:r>
          <a:endParaRPr lang="en-GB" sz="1050" kern="1200" dirty="0">
            <a:solidFill>
              <a:sysClr val="windowText" lastClr="000000"/>
            </a:solidFill>
            <a:latin typeface="Lato"/>
            <a:ea typeface="+mn-ea"/>
            <a:cs typeface="+mn-cs"/>
          </a:endParaRPr>
        </a:p>
      </dsp:txBody>
      <dsp:txXfrm>
        <a:off x="7531443" y="2950482"/>
        <a:ext cx="1955953" cy="568322"/>
      </dsp:txXfrm>
    </dsp:sp>
    <dsp:sp modelId="{C9A66C12-5161-47AC-809C-85074A4E7350}">
      <dsp:nvSpPr>
        <dsp:cNvPr id="0" name=""/>
        <dsp:cNvSpPr/>
      </dsp:nvSpPr>
      <dsp:spPr>
        <a:xfrm>
          <a:off x="9729732" y="887615"/>
          <a:ext cx="2196003" cy="606408"/>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Direct cause:</a:t>
          </a:r>
        </a:p>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Non compliance to key legislation, prescripts and policies </a:t>
          </a:r>
        </a:p>
      </dsp:txBody>
      <dsp:txXfrm>
        <a:off x="9729732" y="887615"/>
        <a:ext cx="2196003" cy="606408"/>
      </dsp:txXfrm>
    </dsp:sp>
    <dsp:sp modelId="{C6932264-56D3-4DF9-8D2C-021A743567DD}">
      <dsp:nvSpPr>
        <dsp:cNvPr id="0" name=""/>
        <dsp:cNvSpPr/>
      </dsp:nvSpPr>
      <dsp:spPr>
        <a:xfrm>
          <a:off x="9902486" y="156101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Unethical conduct</a:t>
          </a:r>
        </a:p>
      </dsp:txBody>
      <dsp:txXfrm>
        <a:off x="9902486" y="1561013"/>
        <a:ext cx="1794480" cy="450713"/>
      </dsp:txXfrm>
    </dsp:sp>
    <dsp:sp modelId="{699B182D-F671-424A-9A63-23C7C7B4D8F7}">
      <dsp:nvSpPr>
        <dsp:cNvPr id="0" name=""/>
        <dsp:cNvSpPr/>
      </dsp:nvSpPr>
      <dsp:spPr>
        <a:xfrm>
          <a:off x="9905794" y="2065609"/>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compliance monitoring coverage</a:t>
          </a:r>
        </a:p>
      </dsp:txBody>
      <dsp:txXfrm>
        <a:off x="9905794" y="2065609"/>
        <a:ext cx="1794480" cy="450713"/>
      </dsp:txXfrm>
    </dsp:sp>
    <dsp:sp modelId="{F470B49C-FBB9-45ED-A78A-B1F71A6D76AD}">
      <dsp:nvSpPr>
        <dsp:cNvPr id="0" name=""/>
        <dsp:cNvSpPr/>
      </dsp:nvSpPr>
      <dsp:spPr>
        <a:xfrm>
          <a:off x="9905794" y="2583322"/>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Inadequate / Assurance gap on compliance </a:t>
          </a:r>
        </a:p>
      </dsp:txBody>
      <dsp:txXfrm>
        <a:off x="9905794" y="2583322"/>
        <a:ext cx="1794480" cy="450713"/>
      </dsp:txXfrm>
    </dsp:sp>
    <dsp:sp modelId="{20731877-7187-429D-B3A8-7DECDA5070FE}">
      <dsp:nvSpPr>
        <dsp:cNvPr id="0" name=""/>
        <dsp:cNvSpPr/>
      </dsp:nvSpPr>
      <dsp:spPr>
        <a:xfrm>
          <a:off x="9905794" y="311865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Lack of segregation of duties and non-compliance to procurement prescripts</a:t>
          </a:r>
        </a:p>
      </dsp:txBody>
      <dsp:txXfrm>
        <a:off x="9905794" y="3118653"/>
        <a:ext cx="1794480" cy="450713"/>
      </dsp:txXfrm>
    </dsp:sp>
    <dsp:sp modelId="{1A8B11D2-3342-43F5-B281-F26FA4BDE16F}">
      <dsp:nvSpPr>
        <dsp:cNvPr id="0" name=""/>
        <dsp:cNvSpPr/>
      </dsp:nvSpPr>
      <dsp:spPr>
        <a:xfrm>
          <a:off x="9905794" y="3649557"/>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Poor planning (demand management)</a:t>
          </a:r>
        </a:p>
      </dsp:txBody>
      <dsp:txXfrm>
        <a:off x="9905794" y="3649557"/>
        <a:ext cx="1794480" cy="450713"/>
      </dsp:txXfrm>
    </dsp:sp>
    <dsp:sp modelId="{043824C3-24DA-4A30-A957-CD48C867E7EB}">
      <dsp:nvSpPr>
        <dsp:cNvPr id="0" name=""/>
        <dsp:cNvSpPr/>
      </dsp:nvSpPr>
      <dsp:spPr>
        <a:xfrm>
          <a:off x="9905794" y="4198008"/>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elays in investigations, inadequate consequence management</a:t>
          </a:r>
        </a:p>
      </dsp:txBody>
      <dsp:txXfrm>
        <a:off x="9905794" y="4198008"/>
        <a:ext cx="1794480" cy="450713"/>
      </dsp:txXfrm>
    </dsp:sp>
    <dsp:sp modelId="{93FCE660-DDC3-4AB5-B916-99CEE63A83BE}">
      <dsp:nvSpPr>
        <dsp:cNvPr id="0" name=""/>
        <dsp:cNvSpPr/>
      </dsp:nvSpPr>
      <dsp:spPr>
        <a:xfrm>
          <a:off x="9905794" y="4720142"/>
          <a:ext cx="1794480" cy="4644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Lack of contract management at Regional/ Management Area level</a:t>
          </a:r>
        </a:p>
      </dsp:txBody>
      <dsp:txXfrm>
        <a:off x="9905794" y="4720142"/>
        <a:ext cx="1794480" cy="4644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EA5480-D883-4F10-85FC-3C1C11868AAB}">
      <dsp:nvSpPr>
        <dsp:cNvPr id="0" name=""/>
        <dsp:cNvSpPr/>
      </dsp:nvSpPr>
      <dsp:spPr>
        <a:xfrm>
          <a:off x="9133981" y="1197505"/>
          <a:ext cx="91440" cy="4126687"/>
        </a:xfrm>
        <a:custGeom>
          <a:avLst/>
          <a:gdLst/>
          <a:ahLst/>
          <a:cxnLst/>
          <a:rect l="0" t="0" r="0" b="0"/>
          <a:pathLst>
            <a:path>
              <a:moveTo>
                <a:pt x="193244" y="0"/>
              </a:moveTo>
              <a:lnTo>
                <a:pt x="0" y="482420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E5F5FC3-2FC6-4461-ABAA-F66D65415C6E}">
      <dsp:nvSpPr>
        <dsp:cNvPr id="0" name=""/>
        <dsp:cNvSpPr/>
      </dsp:nvSpPr>
      <dsp:spPr>
        <a:xfrm>
          <a:off x="9147804" y="1197505"/>
          <a:ext cx="91440" cy="3776079"/>
        </a:xfrm>
        <a:custGeom>
          <a:avLst/>
          <a:gdLst/>
          <a:ahLst/>
          <a:cxnLst/>
          <a:rect l="0" t="0" r="0" b="0"/>
          <a:pathLst>
            <a:path>
              <a:moveTo>
                <a:pt x="177124" y="0"/>
              </a:moveTo>
              <a:lnTo>
                <a:pt x="0" y="441534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3F05970-CE5A-4B8F-B2ED-821CE72425D7}">
      <dsp:nvSpPr>
        <dsp:cNvPr id="0" name=""/>
        <dsp:cNvSpPr/>
      </dsp:nvSpPr>
      <dsp:spPr>
        <a:xfrm>
          <a:off x="9157578" y="1197505"/>
          <a:ext cx="91440" cy="3355415"/>
        </a:xfrm>
        <a:custGeom>
          <a:avLst/>
          <a:gdLst/>
          <a:ahLst/>
          <a:cxnLst/>
          <a:rect l="0" t="0" r="0" b="0"/>
          <a:pathLst>
            <a:path>
              <a:moveTo>
                <a:pt x="165726" y="0"/>
              </a:moveTo>
              <a:lnTo>
                <a:pt x="0" y="392478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60D6A16-F6F3-469C-998A-AD9746314B50}">
      <dsp:nvSpPr>
        <dsp:cNvPr id="0" name=""/>
        <dsp:cNvSpPr/>
      </dsp:nvSpPr>
      <dsp:spPr>
        <a:xfrm>
          <a:off x="9165677" y="1197505"/>
          <a:ext cx="91440" cy="2726751"/>
        </a:xfrm>
        <a:custGeom>
          <a:avLst/>
          <a:gdLst/>
          <a:ahLst/>
          <a:cxnLst/>
          <a:rect l="0" t="0" r="0" b="0"/>
          <a:pathLst>
            <a:path>
              <a:moveTo>
                <a:pt x="156281" y="0"/>
              </a:moveTo>
              <a:lnTo>
                <a:pt x="0" y="319167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C665A08-AC56-45D8-8D87-B1C7BBA58F7E}">
      <dsp:nvSpPr>
        <dsp:cNvPr id="0" name=""/>
        <dsp:cNvSpPr/>
      </dsp:nvSpPr>
      <dsp:spPr>
        <a:xfrm>
          <a:off x="9160805" y="1197505"/>
          <a:ext cx="91440" cy="1906602"/>
        </a:xfrm>
        <a:custGeom>
          <a:avLst/>
          <a:gdLst/>
          <a:ahLst/>
          <a:cxnLst/>
          <a:rect l="0" t="0" r="0" b="0"/>
          <a:pathLst>
            <a:path>
              <a:moveTo>
                <a:pt x="161963" y="0"/>
              </a:moveTo>
              <a:lnTo>
                <a:pt x="0" y="223526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B1825C6-1AEF-462F-A1CD-79B8796D71BF}">
      <dsp:nvSpPr>
        <dsp:cNvPr id="0" name=""/>
        <dsp:cNvSpPr/>
      </dsp:nvSpPr>
      <dsp:spPr>
        <a:xfrm>
          <a:off x="9158961" y="1197505"/>
          <a:ext cx="91440" cy="1072076"/>
        </a:xfrm>
        <a:custGeom>
          <a:avLst/>
          <a:gdLst/>
          <a:ahLst/>
          <a:cxnLst/>
          <a:rect l="0" t="0" r="0" b="0"/>
          <a:pathLst>
            <a:path>
              <a:moveTo>
                <a:pt x="164113" y="0"/>
              </a:moveTo>
              <a:lnTo>
                <a:pt x="0" y="126208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964CB70-41C0-4F29-B83E-AE1B76280125}">
      <dsp:nvSpPr>
        <dsp:cNvPr id="0" name=""/>
        <dsp:cNvSpPr/>
      </dsp:nvSpPr>
      <dsp:spPr>
        <a:xfrm>
          <a:off x="9157502" y="1197505"/>
          <a:ext cx="91440" cy="351026"/>
        </a:xfrm>
        <a:custGeom>
          <a:avLst/>
          <a:gdLst/>
          <a:ahLst/>
          <a:cxnLst/>
          <a:rect l="0" t="0" r="0" b="0"/>
          <a:pathLst>
            <a:path>
              <a:moveTo>
                <a:pt x="165814" y="0"/>
              </a:moveTo>
              <a:lnTo>
                <a:pt x="0" y="42123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2E9BC89-FDF8-438D-A60C-DC48E0884547}">
      <dsp:nvSpPr>
        <dsp:cNvPr id="0" name=""/>
        <dsp:cNvSpPr/>
      </dsp:nvSpPr>
      <dsp:spPr>
        <a:xfrm>
          <a:off x="5976543" y="661670"/>
          <a:ext cx="4436957" cy="91440"/>
        </a:xfrm>
        <a:custGeom>
          <a:avLst/>
          <a:gdLst/>
          <a:ahLst/>
          <a:cxnLst/>
          <a:rect l="0" t="0" r="0" b="0"/>
          <a:pathLst>
            <a:path>
              <a:moveTo>
                <a:pt x="0" y="0"/>
              </a:moveTo>
              <a:lnTo>
                <a:pt x="0" y="59506"/>
              </a:lnTo>
              <a:lnTo>
                <a:pt x="4383927" y="59506"/>
              </a:lnTo>
              <a:lnTo>
                <a:pt x="4383927" y="1309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C2A0575-63FD-4437-9846-05FE755CCA4D}">
      <dsp:nvSpPr>
        <dsp:cNvPr id="0" name=""/>
        <dsp:cNvSpPr/>
      </dsp:nvSpPr>
      <dsp:spPr>
        <a:xfrm>
          <a:off x="6075487" y="1197505"/>
          <a:ext cx="204170" cy="3167010"/>
        </a:xfrm>
        <a:custGeom>
          <a:avLst/>
          <a:gdLst/>
          <a:ahLst/>
          <a:cxnLst/>
          <a:rect l="0" t="0" r="0" b="0"/>
          <a:pathLst>
            <a:path>
              <a:moveTo>
                <a:pt x="182840" y="0"/>
              </a:moveTo>
              <a:lnTo>
                <a:pt x="0" y="371696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EE41A7C-9A60-4601-9E7F-353EBE225BC6}">
      <dsp:nvSpPr>
        <dsp:cNvPr id="0" name=""/>
        <dsp:cNvSpPr/>
      </dsp:nvSpPr>
      <dsp:spPr>
        <a:xfrm>
          <a:off x="6061803" y="1197505"/>
          <a:ext cx="217853" cy="2118259"/>
        </a:xfrm>
        <a:custGeom>
          <a:avLst/>
          <a:gdLst/>
          <a:ahLst/>
          <a:cxnLst/>
          <a:rect l="0" t="0" r="0" b="0"/>
          <a:pathLst>
            <a:path>
              <a:moveTo>
                <a:pt x="198796" y="0"/>
              </a:moveTo>
              <a:lnTo>
                <a:pt x="0" y="249397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4EA762B-4AE4-49BB-ACA9-F208C93443F3}">
      <dsp:nvSpPr>
        <dsp:cNvPr id="0" name=""/>
        <dsp:cNvSpPr/>
      </dsp:nvSpPr>
      <dsp:spPr>
        <a:xfrm>
          <a:off x="6010839" y="1197505"/>
          <a:ext cx="268817" cy="1049678"/>
        </a:xfrm>
        <a:custGeom>
          <a:avLst/>
          <a:gdLst/>
          <a:ahLst/>
          <a:cxnLst/>
          <a:rect l="0" t="0" r="0" b="0"/>
          <a:pathLst>
            <a:path>
              <a:moveTo>
                <a:pt x="258228" y="0"/>
              </a:moveTo>
              <a:lnTo>
                <a:pt x="0" y="124785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A3AC0F8-D2DD-45A4-986D-8A7CA3FCA483}">
      <dsp:nvSpPr>
        <dsp:cNvPr id="0" name=""/>
        <dsp:cNvSpPr/>
      </dsp:nvSpPr>
      <dsp:spPr>
        <a:xfrm>
          <a:off x="6024523" y="1197505"/>
          <a:ext cx="255134" cy="322390"/>
        </a:xfrm>
        <a:custGeom>
          <a:avLst/>
          <a:gdLst/>
          <a:ahLst/>
          <a:cxnLst/>
          <a:rect l="0" t="0" r="0" b="0"/>
          <a:pathLst>
            <a:path>
              <a:moveTo>
                <a:pt x="242271" y="0"/>
              </a:moveTo>
              <a:lnTo>
                <a:pt x="0" y="39972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48B4E46-BCEA-4B90-9F45-8240389CE2F0}">
      <dsp:nvSpPr>
        <dsp:cNvPr id="0" name=""/>
        <dsp:cNvSpPr/>
      </dsp:nvSpPr>
      <dsp:spPr>
        <a:xfrm>
          <a:off x="5976543" y="661670"/>
          <a:ext cx="1446155" cy="91440"/>
        </a:xfrm>
        <a:custGeom>
          <a:avLst/>
          <a:gdLst/>
          <a:ahLst/>
          <a:cxnLst/>
          <a:rect l="0" t="0" r="0" b="0"/>
          <a:pathLst>
            <a:path>
              <a:moveTo>
                <a:pt x="0" y="0"/>
              </a:moveTo>
              <a:lnTo>
                <a:pt x="0" y="59506"/>
              </a:lnTo>
              <a:lnTo>
                <a:pt x="1478935" y="59506"/>
              </a:lnTo>
              <a:lnTo>
                <a:pt x="1478935" y="1309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3EDB892-9EB4-4D68-BBE5-B200E79A66A9}">
      <dsp:nvSpPr>
        <dsp:cNvPr id="0" name=""/>
        <dsp:cNvSpPr/>
      </dsp:nvSpPr>
      <dsp:spPr>
        <a:xfrm>
          <a:off x="2986841" y="1190150"/>
          <a:ext cx="264890" cy="4364548"/>
        </a:xfrm>
        <a:custGeom>
          <a:avLst/>
          <a:gdLst/>
          <a:ahLst/>
          <a:cxnLst/>
          <a:rect l="0" t="0" r="0" b="0"/>
          <a:pathLst>
            <a:path>
              <a:moveTo>
                <a:pt x="158173" y="0"/>
              </a:moveTo>
              <a:lnTo>
                <a:pt x="0" y="538534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18432C2-F5A3-442A-9977-38AEE04F13DD}">
      <dsp:nvSpPr>
        <dsp:cNvPr id="0" name=""/>
        <dsp:cNvSpPr/>
      </dsp:nvSpPr>
      <dsp:spPr>
        <a:xfrm>
          <a:off x="3005041" y="1190150"/>
          <a:ext cx="246691" cy="4030270"/>
        </a:xfrm>
        <a:custGeom>
          <a:avLst/>
          <a:gdLst/>
          <a:ahLst/>
          <a:cxnLst/>
          <a:rect l="0" t="0" r="0" b="0"/>
          <a:pathLst>
            <a:path>
              <a:moveTo>
                <a:pt x="172986" y="0"/>
              </a:moveTo>
              <a:lnTo>
                <a:pt x="0" y="485441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FAD3576-45D6-41B4-8CB0-E188125E4354}">
      <dsp:nvSpPr>
        <dsp:cNvPr id="0" name=""/>
        <dsp:cNvSpPr/>
      </dsp:nvSpPr>
      <dsp:spPr>
        <a:xfrm>
          <a:off x="2990984" y="1190150"/>
          <a:ext cx="260747" cy="3584406"/>
        </a:xfrm>
        <a:custGeom>
          <a:avLst/>
          <a:gdLst/>
          <a:ahLst/>
          <a:cxnLst/>
          <a:rect l="0" t="0" r="0" b="0"/>
          <a:pathLst>
            <a:path>
              <a:moveTo>
                <a:pt x="189379" y="0"/>
              </a:moveTo>
              <a:lnTo>
                <a:pt x="0" y="429881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DD6B248-4CEB-4654-9033-ED2BD107A221}">
      <dsp:nvSpPr>
        <dsp:cNvPr id="0" name=""/>
        <dsp:cNvSpPr/>
      </dsp:nvSpPr>
      <dsp:spPr>
        <a:xfrm>
          <a:off x="2977026" y="1190150"/>
          <a:ext cx="274705" cy="3160567"/>
        </a:xfrm>
        <a:custGeom>
          <a:avLst/>
          <a:gdLst/>
          <a:ahLst/>
          <a:cxnLst/>
          <a:rect l="0" t="0" r="0" b="0"/>
          <a:pathLst>
            <a:path>
              <a:moveTo>
                <a:pt x="205655" y="0"/>
              </a:moveTo>
              <a:lnTo>
                <a:pt x="0" y="379266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6BF8A7A-9D89-41C0-8B99-0645BE0B5C9B}">
      <dsp:nvSpPr>
        <dsp:cNvPr id="0" name=""/>
        <dsp:cNvSpPr/>
      </dsp:nvSpPr>
      <dsp:spPr>
        <a:xfrm>
          <a:off x="2979541" y="1190150"/>
          <a:ext cx="272190" cy="2720599"/>
        </a:xfrm>
        <a:custGeom>
          <a:avLst/>
          <a:gdLst/>
          <a:ahLst/>
          <a:cxnLst/>
          <a:rect l="0" t="0" r="0" b="0"/>
          <a:pathLst>
            <a:path>
              <a:moveTo>
                <a:pt x="202723" y="0"/>
              </a:moveTo>
              <a:lnTo>
                <a:pt x="0" y="326771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B9BB72C-C16E-4812-A426-8736B0F4D50D}">
      <dsp:nvSpPr>
        <dsp:cNvPr id="0" name=""/>
        <dsp:cNvSpPr/>
      </dsp:nvSpPr>
      <dsp:spPr>
        <a:xfrm>
          <a:off x="2979541" y="1190150"/>
          <a:ext cx="272190" cy="2284675"/>
        </a:xfrm>
        <a:custGeom>
          <a:avLst/>
          <a:gdLst/>
          <a:ahLst/>
          <a:cxnLst/>
          <a:rect l="0" t="0" r="0" b="0"/>
          <a:pathLst>
            <a:path>
              <a:moveTo>
                <a:pt x="202723" y="0"/>
              </a:moveTo>
              <a:lnTo>
                <a:pt x="0" y="274747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743BF5E-8E74-4AA4-AF77-FEB591727596}">
      <dsp:nvSpPr>
        <dsp:cNvPr id="0" name=""/>
        <dsp:cNvSpPr/>
      </dsp:nvSpPr>
      <dsp:spPr>
        <a:xfrm>
          <a:off x="2979541" y="1190150"/>
          <a:ext cx="272190" cy="1729349"/>
        </a:xfrm>
        <a:custGeom>
          <a:avLst/>
          <a:gdLst/>
          <a:ahLst/>
          <a:cxnLst/>
          <a:rect l="0" t="0" r="0" b="0"/>
          <a:pathLst>
            <a:path>
              <a:moveTo>
                <a:pt x="202723" y="0"/>
              </a:moveTo>
              <a:lnTo>
                <a:pt x="0" y="207610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F2A5BDB-731B-4743-8645-30CC461A515D}">
      <dsp:nvSpPr>
        <dsp:cNvPr id="0" name=""/>
        <dsp:cNvSpPr/>
      </dsp:nvSpPr>
      <dsp:spPr>
        <a:xfrm>
          <a:off x="2979541" y="1190150"/>
          <a:ext cx="272190" cy="1136000"/>
        </a:xfrm>
        <a:custGeom>
          <a:avLst/>
          <a:gdLst/>
          <a:ahLst/>
          <a:cxnLst/>
          <a:rect l="0" t="0" r="0" b="0"/>
          <a:pathLst>
            <a:path>
              <a:moveTo>
                <a:pt x="202723" y="0"/>
              </a:moveTo>
              <a:lnTo>
                <a:pt x="0" y="134851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E8D8668-96E8-4FBC-8F48-E04927E8AF75}">
      <dsp:nvSpPr>
        <dsp:cNvPr id="0" name=""/>
        <dsp:cNvSpPr/>
      </dsp:nvSpPr>
      <dsp:spPr>
        <a:xfrm>
          <a:off x="2979541" y="1190150"/>
          <a:ext cx="272190" cy="676180"/>
        </a:xfrm>
        <a:custGeom>
          <a:avLst/>
          <a:gdLst/>
          <a:ahLst/>
          <a:cxnLst/>
          <a:rect l="0" t="0" r="0" b="0"/>
          <a:pathLst>
            <a:path>
              <a:moveTo>
                <a:pt x="202723" y="0"/>
              </a:moveTo>
              <a:lnTo>
                <a:pt x="0" y="78852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981F861-5079-4644-BDF7-785B038AC3AD}">
      <dsp:nvSpPr>
        <dsp:cNvPr id="0" name=""/>
        <dsp:cNvSpPr/>
      </dsp:nvSpPr>
      <dsp:spPr>
        <a:xfrm>
          <a:off x="2967346" y="1190150"/>
          <a:ext cx="284386" cy="241228"/>
        </a:xfrm>
        <a:custGeom>
          <a:avLst/>
          <a:gdLst/>
          <a:ahLst/>
          <a:cxnLst/>
          <a:rect l="0" t="0" r="0" b="0"/>
          <a:pathLst>
            <a:path>
              <a:moveTo>
                <a:pt x="216944" y="0"/>
              </a:moveTo>
              <a:lnTo>
                <a:pt x="0" y="28130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6194040-5E60-434D-BF92-83FD3BBE53B9}">
      <dsp:nvSpPr>
        <dsp:cNvPr id="0" name=""/>
        <dsp:cNvSpPr/>
      </dsp:nvSpPr>
      <dsp:spPr>
        <a:xfrm>
          <a:off x="4394773" y="661670"/>
          <a:ext cx="1581770" cy="91440"/>
        </a:xfrm>
        <a:custGeom>
          <a:avLst/>
          <a:gdLst/>
          <a:ahLst/>
          <a:cxnLst/>
          <a:rect l="0" t="0" r="0" b="0"/>
          <a:pathLst>
            <a:path>
              <a:moveTo>
                <a:pt x="1469347" y="0"/>
              </a:moveTo>
              <a:lnTo>
                <a:pt x="1469347" y="50929"/>
              </a:lnTo>
              <a:lnTo>
                <a:pt x="0" y="50929"/>
              </a:lnTo>
              <a:lnTo>
                <a:pt x="0" y="12237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B7A51C9-2A3B-4023-940F-7A577F808009}">
      <dsp:nvSpPr>
        <dsp:cNvPr id="0" name=""/>
        <dsp:cNvSpPr/>
      </dsp:nvSpPr>
      <dsp:spPr>
        <a:xfrm>
          <a:off x="168748" y="1192968"/>
          <a:ext cx="117011" cy="3504813"/>
        </a:xfrm>
        <a:custGeom>
          <a:avLst/>
          <a:gdLst/>
          <a:ahLst/>
          <a:cxnLst/>
          <a:rect l="0" t="0" r="0" b="0"/>
          <a:pathLst>
            <a:path>
              <a:moveTo>
                <a:pt x="185316" y="0"/>
              </a:moveTo>
              <a:lnTo>
                <a:pt x="0" y="409900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2C6E8CA-49E0-4ED9-8590-8C6DE8D745C9}">
      <dsp:nvSpPr>
        <dsp:cNvPr id="0" name=""/>
        <dsp:cNvSpPr/>
      </dsp:nvSpPr>
      <dsp:spPr>
        <a:xfrm>
          <a:off x="168748" y="1192968"/>
          <a:ext cx="117011" cy="2810056"/>
        </a:xfrm>
        <a:custGeom>
          <a:avLst/>
          <a:gdLst/>
          <a:ahLst/>
          <a:cxnLst/>
          <a:rect l="0" t="0" r="0" b="0"/>
          <a:pathLst>
            <a:path>
              <a:moveTo>
                <a:pt x="185316" y="0"/>
              </a:moveTo>
              <a:lnTo>
                <a:pt x="0" y="328881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9553AB9-15C6-41A5-86D0-0A8B70218E8B}">
      <dsp:nvSpPr>
        <dsp:cNvPr id="0" name=""/>
        <dsp:cNvSpPr/>
      </dsp:nvSpPr>
      <dsp:spPr>
        <a:xfrm>
          <a:off x="168748" y="1192968"/>
          <a:ext cx="117011" cy="2197085"/>
        </a:xfrm>
        <a:custGeom>
          <a:avLst/>
          <a:gdLst/>
          <a:ahLst/>
          <a:cxnLst/>
          <a:rect l="0" t="0" r="0" b="0"/>
          <a:pathLst>
            <a:path>
              <a:moveTo>
                <a:pt x="185316" y="0"/>
              </a:moveTo>
              <a:lnTo>
                <a:pt x="0" y="257400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912F301-E950-4E0C-B146-0A5185F9A67F}">
      <dsp:nvSpPr>
        <dsp:cNvPr id="0" name=""/>
        <dsp:cNvSpPr/>
      </dsp:nvSpPr>
      <dsp:spPr>
        <a:xfrm>
          <a:off x="168748" y="1192968"/>
          <a:ext cx="117011" cy="1597794"/>
        </a:xfrm>
        <a:custGeom>
          <a:avLst/>
          <a:gdLst/>
          <a:ahLst/>
          <a:cxnLst/>
          <a:rect l="0" t="0" r="0" b="0"/>
          <a:pathLst>
            <a:path>
              <a:moveTo>
                <a:pt x="185316" y="0"/>
              </a:moveTo>
              <a:lnTo>
                <a:pt x="0" y="187514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69AAF95-112D-4CA3-8B25-A2C1AA2BFB20}">
      <dsp:nvSpPr>
        <dsp:cNvPr id="0" name=""/>
        <dsp:cNvSpPr/>
      </dsp:nvSpPr>
      <dsp:spPr>
        <a:xfrm>
          <a:off x="168748" y="1192968"/>
          <a:ext cx="117011" cy="1033980"/>
        </a:xfrm>
        <a:custGeom>
          <a:avLst/>
          <a:gdLst/>
          <a:ahLst/>
          <a:cxnLst/>
          <a:rect l="0" t="0" r="0" b="0"/>
          <a:pathLst>
            <a:path>
              <a:moveTo>
                <a:pt x="185316" y="0"/>
              </a:moveTo>
              <a:lnTo>
                <a:pt x="0" y="121765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E6F7728-0201-4A15-AC95-CC7E377B1A72}">
      <dsp:nvSpPr>
        <dsp:cNvPr id="0" name=""/>
        <dsp:cNvSpPr/>
      </dsp:nvSpPr>
      <dsp:spPr>
        <a:xfrm>
          <a:off x="158834" y="1192968"/>
          <a:ext cx="126925" cy="399277"/>
        </a:xfrm>
        <a:custGeom>
          <a:avLst/>
          <a:gdLst/>
          <a:ahLst/>
          <a:cxnLst/>
          <a:rect l="0" t="0" r="0" b="0"/>
          <a:pathLst>
            <a:path>
              <a:moveTo>
                <a:pt x="196878" y="0"/>
              </a:moveTo>
              <a:lnTo>
                <a:pt x="0" y="47750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8734DF8-E79C-44E6-9764-7B2B826E2D1C}">
      <dsp:nvSpPr>
        <dsp:cNvPr id="0" name=""/>
        <dsp:cNvSpPr/>
      </dsp:nvSpPr>
      <dsp:spPr>
        <a:xfrm>
          <a:off x="1428801" y="661670"/>
          <a:ext cx="4547742" cy="91440"/>
        </a:xfrm>
        <a:custGeom>
          <a:avLst/>
          <a:gdLst/>
          <a:ahLst/>
          <a:cxnLst/>
          <a:rect l="0" t="0" r="0" b="0"/>
          <a:pathLst>
            <a:path>
              <a:moveTo>
                <a:pt x="4383927" y="0"/>
              </a:moveTo>
              <a:lnTo>
                <a:pt x="4383927" y="54215"/>
              </a:lnTo>
              <a:lnTo>
                <a:pt x="0" y="54215"/>
              </a:lnTo>
              <a:lnTo>
                <a:pt x="0" y="12566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647B7EA-AC87-4476-9537-D181D7693287}">
      <dsp:nvSpPr>
        <dsp:cNvPr id="0" name=""/>
        <dsp:cNvSpPr/>
      </dsp:nvSpPr>
      <dsp:spPr>
        <a:xfrm>
          <a:off x="157013" y="54760"/>
          <a:ext cx="11639059" cy="652629"/>
        </a:xfrm>
        <a:prstGeom prst="rect">
          <a:avLst/>
        </a:prstGeom>
        <a:solidFill>
          <a:srgbClr val="679F8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ZA" sz="2000" b="1" kern="1200" dirty="0" smtClean="0">
              <a:solidFill>
                <a:sysClr val="window" lastClr="FFFFFF"/>
              </a:solidFill>
              <a:latin typeface="Lato"/>
              <a:ea typeface="+mn-ea"/>
              <a:cs typeface="+mn-cs"/>
            </a:rPr>
            <a:t>Solution Statement Support:</a:t>
          </a:r>
        </a:p>
        <a:p>
          <a:pPr lvl="0" algn="ctr" defTabSz="889000">
            <a:lnSpc>
              <a:spcPct val="90000"/>
            </a:lnSpc>
            <a:spcBef>
              <a:spcPct val="0"/>
            </a:spcBef>
            <a:spcAft>
              <a:spcPct val="35000"/>
            </a:spcAft>
          </a:pPr>
          <a:r>
            <a:rPr lang="en-ZA" sz="2000" b="1" kern="1200" dirty="0" smtClean="0">
              <a:solidFill>
                <a:sysClr val="window" lastClr="FFFFFF"/>
              </a:solidFill>
              <a:latin typeface="Lato"/>
              <a:ea typeface="+mn-ea"/>
              <a:cs typeface="+mn-cs"/>
            </a:rPr>
            <a:t>High performing ethical organisation</a:t>
          </a:r>
          <a:endParaRPr lang="en-GB" sz="2000" b="1" kern="1200" dirty="0">
            <a:solidFill>
              <a:sysClr val="window" lastClr="FFFFFF"/>
            </a:solidFill>
            <a:latin typeface="Lato"/>
            <a:ea typeface="+mn-ea"/>
            <a:cs typeface="+mn-cs"/>
          </a:endParaRPr>
        </a:p>
      </dsp:txBody>
      <dsp:txXfrm>
        <a:off x="157013" y="54760"/>
        <a:ext cx="11639059" cy="652629"/>
      </dsp:txXfrm>
    </dsp:sp>
    <dsp:sp modelId="{B7CC506E-76AA-4F38-A791-F42D4C7CADF8}">
      <dsp:nvSpPr>
        <dsp:cNvPr id="0" name=""/>
        <dsp:cNvSpPr/>
      </dsp:nvSpPr>
      <dsp:spPr>
        <a:xfrm>
          <a:off x="0" y="723090"/>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Intervention:</a:t>
          </a:r>
        </a:p>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Automation and integration of systems</a:t>
          </a:r>
          <a:endParaRPr lang="en-GB" sz="1300" kern="1200" dirty="0">
            <a:solidFill>
              <a:sysClr val="windowText" lastClr="000000"/>
            </a:solidFill>
            <a:latin typeface="Lato"/>
            <a:ea typeface="+mn-ea"/>
            <a:cs typeface="+mn-cs"/>
          </a:endParaRPr>
        </a:p>
      </dsp:txBody>
      <dsp:txXfrm>
        <a:off x="0" y="723090"/>
        <a:ext cx="2857602" cy="469878"/>
      </dsp:txXfrm>
    </dsp:sp>
    <dsp:sp modelId="{AD2E7CCF-8632-48BA-AB5F-38D672160CB7}">
      <dsp:nvSpPr>
        <dsp:cNvPr id="0" name=""/>
        <dsp:cNvSpPr/>
      </dsp:nvSpPr>
      <dsp:spPr>
        <a:xfrm>
          <a:off x="158834" y="1287684"/>
          <a:ext cx="2500404" cy="60912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Automation of business process for accurate, reliable, timeous and relevant information</a:t>
          </a:r>
          <a:endParaRPr lang="en-GB" sz="1200" kern="1200" dirty="0" smtClean="0">
            <a:solidFill>
              <a:sysClr val="windowText" lastClr="000000"/>
            </a:solidFill>
            <a:latin typeface="Lato"/>
            <a:ea typeface="+mn-ea"/>
            <a:cs typeface="+mn-cs"/>
          </a:endParaRPr>
        </a:p>
      </dsp:txBody>
      <dsp:txXfrm>
        <a:off x="158834" y="1287684"/>
        <a:ext cx="2500404" cy="609122"/>
      </dsp:txXfrm>
    </dsp:sp>
    <dsp:sp modelId="{3AC870FB-C26A-455D-A787-26FB8A768500}">
      <dsp:nvSpPr>
        <dsp:cNvPr id="0" name=""/>
        <dsp:cNvSpPr/>
      </dsp:nvSpPr>
      <dsp:spPr>
        <a:xfrm>
          <a:off x="168748" y="1990068"/>
          <a:ext cx="2500404" cy="47376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Single view of offender (Integrated Inmate Management System)</a:t>
          </a:r>
          <a:endParaRPr lang="en-GB" sz="1200" kern="1200" dirty="0">
            <a:solidFill>
              <a:sysClr val="windowText" lastClr="000000"/>
            </a:solidFill>
            <a:latin typeface="Lato"/>
            <a:ea typeface="+mn-ea"/>
            <a:cs typeface="+mn-cs"/>
          </a:endParaRPr>
        </a:p>
      </dsp:txBody>
      <dsp:txXfrm>
        <a:off x="168748" y="1990068"/>
        <a:ext cx="2500404" cy="473761"/>
      </dsp:txXfrm>
    </dsp:sp>
    <dsp:sp modelId="{68F9805C-8CAE-4938-9623-6375F921F333}">
      <dsp:nvSpPr>
        <dsp:cNvPr id="0" name=""/>
        <dsp:cNvSpPr/>
      </dsp:nvSpPr>
      <dsp:spPr>
        <a:xfrm>
          <a:off x="168748" y="2548358"/>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ysClr val="windowText" lastClr="000000"/>
              </a:solidFill>
              <a:latin typeface="Lato"/>
              <a:ea typeface="+mn-ea"/>
              <a:cs typeface="+mn-cs"/>
            </a:rPr>
            <a:t>Digitalise identity for offenders, officials, visitors, stakeholders</a:t>
          </a:r>
        </a:p>
      </dsp:txBody>
      <dsp:txXfrm>
        <a:off x="168748" y="2548358"/>
        <a:ext cx="2500404" cy="484810"/>
      </dsp:txXfrm>
    </dsp:sp>
    <dsp:sp modelId="{61B4AA93-0842-4D55-B889-C5D4706F273C}">
      <dsp:nvSpPr>
        <dsp:cNvPr id="0" name=""/>
        <dsp:cNvSpPr/>
      </dsp:nvSpPr>
      <dsp:spPr>
        <a:xfrm>
          <a:off x="168748" y="3147648"/>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Integration of security technology and information network.</a:t>
          </a:r>
          <a:endParaRPr lang="en-GB" sz="1400" kern="1200" dirty="0" smtClean="0">
            <a:solidFill>
              <a:sysClr val="windowText" lastClr="000000"/>
            </a:solidFill>
            <a:latin typeface="Lato"/>
            <a:ea typeface="+mn-ea"/>
            <a:cs typeface="+mn-cs"/>
          </a:endParaRPr>
        </a:p>
      </dsp:txBody>
      <dsp:txXfrm>
        <a:off x="168748" y="3147648"/>
        <a:ext cx="2500404" cy="484810"/>
      </dsp:txXfrm>
    </dsp:sp>
    <dsp:sp modelId="{3D806196-A09E-42B6-89DA-5DE151B649CC}">
      <dsp:nvSpPr>
        <dsp:cNvPr id="0" name=""/>
        <dsp:cNvSpPr/>
      </dsp:nvSpPr>
      <dsp:spPr>
        <a:xfrm>
          <a:off x="168748" y="3760619"/>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Upgrade and implement security technology</a:t>
          </a:r>
          <a:endParaRPr lang="en-GB" sz="1600" kern="1200" dirty="0" smtClean="0">
            <a:solidFill>
              <a:sysClr val="windowText" lastClr="000000"/>
            </a:solidFill>
            <a:latin typeface="Lato"/>
            <a:ea typeface="+mn-ea"/>
            <a:cs typeface="+mn-cs"/>
          </a:endParaRPr>
        </a:p>
      </dsp:txBody>
      <dsp:txXfrm>
        <a:off x="168748" y="3760619"/>
        <a:ext cx="2500404" cy="484810"/>
      </dsp:txXfrm>
    </dsp:sp>
    <dsp:sp modelId="{4C1F4693-C8EA-4D49-A3D3-8D6D9A6A79CE}">
      <dsp:nvSpPr>
        <dsp:cNvPr id="0" name=""/>
        <dsp:cNvSpPr/>
      </dsp:nvSpPr>
      <dsp:spPr>
        <a:xfrm>
          <a:off x="168748" y="4342460"/>
          <a:ext cx="2500404" cy="71064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Develop Infrastructure assessment plan to c</a:t>
          </a:r>
          <a:r>
            <a:rPr lang="en-ZA" sz="1200" kern="1200" dirty="0" smtClean="0">
              <a:solidFill>
                <a:sysClr val="windowText" lastClr="000000"/>
              </a:solidFill>
              <a:latin typeface="Lato"/>
              <a:ea typeface="+mn-ea"/>
              <a:cs typeface="+mn-cs"/>
            </a:rPr>
            <a:t>continuously maintain, support and upgrade the IT Infrastructure  </a:t>
          </a:r>
          <a:endParaRPr lang="en-GB" sz="1200" kern="1200" dirty="0">
            <a:solidFill>
              <a:sysClr val="windowText" lastClr="000000"/>
            </a:solidFill>
            <a:latin typeface="Lato"/>
            <a:ea typeface="+mn-ea"/>
            <a:cs typeface="+mn-cs"/>
          </a:endParaRPr>
        </a:p>
      </dsp:txBody>
      <dsp:txXfrm>
        <a:off x="168748" y="4342460"/>
        <a:ext cx="2500404" cy="710642"/>
      </dsp:txXfrm>
    </dsp:sp>
    <dsp:sp modelId="{C633A689-B769-440B-A61E-472B58BC51D4}">
      <dsp:nvSpPr>
        <dsp:cNvPr id="0" name=""/>
        <dsp:cNvSpPr/>
      </dsp:nvSpPr>
      <dsp:spPr>
        <a:xfrm>
          <a:off x="2965972" y="720271"/>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Intervention: </a:t>
          </a:r>
        </a:p>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Strategic Human Resource Management </a:t>
          </a:r>
          <a:endParaRPr lang="en-GB" sz="1300" kern="1200" dirty="0">
            <a:solidFill>
              <a:sysClr val="windowText" lastClr="000000"/>
            </a:solidFill>
            <a:latin typeface="Lato"/>
            <a:ea typeface="+mn-ea"/>
            <a:cs typeface="+mn-cs"/>
          </a:endParaRPr>
        </a:p>
      </dsp:txBody>
      <dsp:txXfrm>
        <a:off x="2965972" y="720271"/>
        <a:ext cx="2857602" cy="469878"/>
      </dsp:txXfrm>
    </dsp:sp>
    <dsp:sp modelId="{C52F6E7A-06EB-4ED7-9448-A059B6929A94}">
      <dsp:nvSpPr>
        <dsp:cNvPr id="0" name=""/>
        <dsp:cNvSpPr/>
      </dsp:nvSpPr>
      <dsp:spPr>
        <a:xfrm>
          <a:off x="2967346" y="1237213"/>
          <a:ext cx="2857602" cy="38832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Full decentralisation of HR functions </a:t>
          </a:r>
          <a:endParaRPr lang="en-GB" sz="1400" kern="1200" dirty="0">
            <a:solidFill>
              <a:sysClr val="windowText" lastClr="000000"/>
            </a:solidFill>
            <a:latin typeface="Lato"/>
            <a:ea typeface="+mn-ea"/>
            <a:cs typeface="+mn-cs"/>
          </a:endParaRPr>
        </a:p>
      </dsp:txBody>
      <dsp:txXfrm>
        <a:off x="2967346" y="1237213"/>
        <a:ext cx="2857602" cy="388329"/>
      </dsp:txXfrm>
    </dsp:sp>
    <dsp:sp modelId="{FA874DA8-4D76-40E4-B03F-68097D2BD076}">
      <dsp:nvSpPr>
        <dsp:cNvPr id="0" name=""/>
        <dsp:cNvSpPr/>
      </dsp:nvSpPr>
      <dsp:spPr>
        <a:xfrm>
          <a:off x="2979541" y="1672026"/>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Consistent implementation of HR directives</a:t>
          </a:r>
          <a:endParaRPr lang="en-GB" sz="1200" kern="1200" dirty="0">
            <a:solidFill>
              <a:sysClr val="windowText" lastClr="000000"/>
            </a:solidFill>
            <a:latin typeface="Lato"/>
            <a:ea typeface="+mn-ea"/>
            <a:cs typeface="+mn-cs"/>
          </a:endParaRPr>
        </a:p>
      </dsp:txBody>
      <dsp:txXfrm>
        <a:off x="2979541" y="1672026"/>
        <a:ext cx="2857602" cy="388609"/>
      </dsp:txXfrm>
    </dsp:sp>
    <dsp:sp modelId="{04410A4D-7DCC-4946-8471-DFD4EE5F71CD}">
      <dsp:nvSpPr>
        <dsp:cNvPr id="0" name=""/>
        <dsp:cNvSpPr/>
      </dsp:nvSpPr>
      <dsp:spPr>
        <a:xfrm>
          <a:off x="2979541" y="2097461"/>
          <a:ext cx="2857602" cy="45737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b="0" kern="1200" dirty="0" smtClean="0">
              <a:solidFill>
                <a:sysClr val="windowText" lastClr="000000"/>
              </a:solidFill>
              <a:latin typeface="Lato"/>
              <a:ea typeface="+mn-ea"/>
              <a:cs typeface="+mn-cs"/>
            </a:rPr>
            <a:t>Approval and implementation of functional, centre-centric organisational structure</a:t>
          </a:r>
          <a:endParaRPr lang="en-GB" sz="1050" b="0" kern="1200" dirty="0">
            <a:solidFill>
              <a:sysClr val="windowText" lastClr="000000"/>
            </a:solidFill>
            <a:latin typeface="Lato"/>
            <a:ea typeface="+mn-ea"/>
            <a:cs typeface="+mn-cs"/>
          </a:endParaRPr>
        </a:p>
      </dsp:txBody>
      <dsp:txXfrm>
        <a:off x="2979541" y="2097461"/>
        <a:ext cx="2857602" cy="457379"/>
      </dsp:txXfrm>
    </dsp:sp>
    <dsp:sp modelId="{0E40AEC0-2671-423A-8A47-DC6E1E2C8277}">
      <dsp:nvSpPr>
        <dsp:cNvPr id="0" name=""/>
        <dsp:cNvSpPr/>
      </dsp:nvSpPr>
      <dsp:spPr>
        <a:xfrm>
          <a:off x="2979541" y="2609134"/>
          <a:ext cx="2857602" cy="62073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377825">
            <a:lnSpc>
              <a:spcPct val="100000"/>
            </a:lnSpc>
            <a:spcBef>
              <a:spcPct val="0"/>
            </a:spcBef>
            <a:spcAft>
              <a:spcPts val="0"/>
            </a:spcAft>
          </a:pPr>
          <a:r>
            <a:rPr lang="en-ZA" sz="850" kern="1200" dirty="0" smtClean="0">
              <a:solidFill>
                <a:sysClr val="windowText" lastClr="000000"/>
              </a:solidFill>
              <a:latin typeface="Lato"/>
              <a:ea typeface="+mn-ea"/>
              <a:cs typeface="+mn-cs"/>
            </a:rPr>
            <a:t>Partnership with other departments, HEIs, SETAs, Disability Sector, NSG, professional bodies - MoUs; allowances for professionals, extension of Community service programme to include other professions;</a:t>
          </a:r>
          <a:endParaRPr lang="en-GB" sz="850" kern="1200" dirty="0">
            <a:solidFill>
              <a:sysClr val="windowText" lastClr="000000"/>
            </a:solidFill>
            <a:latin typeface="Lato"/>
            <a:ea typeface="+mn-ea"/>
            <a:cs typeface="+mn-cs"/>
          </a:endParaRPr>
        </a:p>
      </dsp:txBody>
      <dsp:txXfrm>
        <a:off x="2979541" y="2609134"/>
        <a:ext cx="2857602" cy="620731"/>
      </dsp:txXfrm>
    </dsp:sp>
    <dsp:sp modelId="{EA59485D-2E2F-42CB-B81B-A0E1E3EA3A1C}">
      <dsp:nvSpPr>
        <dsp:cNvPr id="0" name=""/>
        <dsp:cNvSpPr/>
      </dsp:nvSpPr>
      <dsp:spPr>
        <a:xfrm>
          <a:off x="2979541" y="3280521"/>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b="0" kern="1200" dirty="0" smtClean="0">
              <a:solidFill>
                <a:sysClr val="windowText" lastClr="000000"/>
              </a:solidFill>
              <a:latin typeface="Lato"/>
              <a:ea typeface="+mn-ea"/>
              <a:cs typeface="+mn-cs"/>
            </a:rPr>
            <a:t>Develop and Implement Talent Management Strategy</a:t>
          </a:r>
          <a:endParaRPr lang="en-GB" sz="1050" b="0" kern="1200" dirty="0">
            <a:solidFill>
              <a:sysClr val="windowText" lastClr="000000"/>
            </a:solidFill>
            <a:latin typeface="Lato"/>
            <a:ea typeface="+mn-ea"/>
            <a:cs typeface="+mn-cs"/>
          </a:endParaRPr>
        </a:p>
      </dsp:txBody>
      <dsp:txXfrm>
        <a:off x="2979541" y="3280521"/>
        <a:ext cx="2857602" cy="388609"/>
      </dsp:txXfrm>
    </dsp:sp>
    <dsp:sp modelId="{69577400-3728-444D-96E5-E59C84094316}">
      <dsp:nvSpPr>
        <dsp:cNvPr id="0" name=""/>
        <dsp:cNvSpPr/>
      </dsp:nvSpPr>
      <dsp:spPr>
        <a:xfrm>
          <a:off x="2979541" y="3716444"/>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Capacitate the Management Areas and correctional centres</a:t>
          </a:r>
          <a:endParaRPr lang="en-GB" sz="1000" kern="1200" dirty="0">
            <a:solidFill>
              <a:sysClr val="windowText" lastClr="000000"/>
            </a:solidFill>
            <a:latin typeface="Lato"/>
            <a:ea typeface="+mn-ea"/>
            <a:cs typeface="+mn-cs"/>
          </a:endParaRPr>
        </a:p>
      </dsp:txBody>
      <dsp:txXfrm>
        <a:off x="2979541" y="3716444"/>
        <a:ext cx="2857602" cy="388609"/>
      </dsp:txXfrm>
    </dsp:sp>
    <dsp:sp modelId="{830D38BF-6282-47C5-BAC0-DF00893C467F}">
      <dsp:nvSpPr>
        <dsp:cNvPr id="0" name=""/>
        <dsp:cNvSpPr/>
      </dsp:nvSpPr>
      <dsp:spPr>
        <a:xfrm>
          <a:off x="2977026" y="4156412"/>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Consistently avail adequate budget for the colleges </a:t>
          </a:r>
          <a:endParaRPr lang="en-GB" sz="1050" kern="1200" dirty="0" smtClean="0">
            <a:solidFill>
              <a:sysClr val="windowText" lastClr="000000"/>
            </a:solidFill>
            <a:latin typeface="Lato"/>
            <a:ea typeface="+mn-ea"/>
            <a:cs typeface="+mn-cs"/>
          </a:endParaRPr>
        </a:p>
      </dsp:txBody>
      <dsp:txXfrm>
        <a:off x="2977026" y="4156412"/>
        <a:ext cx="2857602" cy="388609"/>
      </dsp:txXfrm>
    </dsp:sp>
    <dsp:sp modelId="{FCD4C20C-521F-4545-939A-8A7799913E93}">
      <dsp:nvSpPr>
        <dsp:cNvPr id="0" name=""/>
        <dsp:cNvSpPr/>
      </dsp:nvSpPr>
      <dsp:spPr>
        <a:xfrm>
          <a:off x="2990984" y="4597754"/>
          <a:ext cx="2857602" cy="35360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Approve the appropriate shift system after sufficient staffing has been provided</a:t>
          </a:r>
          <a:endParaRPr lang="en-GB" sz="1050" kern="1200" dirty="0" smtClean="0">
            <a:solidFill>
              <a:sysClr val="windowText" lastClr="000000"/>
            </a:solidFill>
            <a:latin typeface="Lato"/>
            <a:ea typeface="+mn-ea"/>
            <a:cs typeface="+mn-cs"/>
          </a:endParaRPr>
        </a:p>
      </dsp:txBody>
      <dsp:txXfrm>
        <a:off x="2990984" y="4597754"/>
        <a:ext cx="2857602" cy="353604"/>
      </dsp:txXfrm>
    </dsp:sp>
    <dsp:sp modelId="{B831C22F-984D-4917-BB77-DA19C75E8EEC}">
      <dsp:nvSpPr>
        <dsp:cNvPr id="0" name=""/>
        <dsp:cNvSpPr/>
      </dsp:nvSpPr>
      <dsp:spPr>
        <a:xfrm>
          <a:off x="3005041" y="5002191"/>
          <a:ext cx="2857602" cy="4364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ZA" sz="900" kern="1200" dirty="0" smtClean="0">
              <a:solidFill>
                <a:sysClr val="windowText" lastClr="000000"/>
              </a:solidFill>
              <a:latin typeface="Lato"/>
              <a:ea typeface="+mn-ea"/>
              <a:cs typeface="+mn-cs"/>
            </a:rPr>
            <a:t>Implement integrated employee health and wellness programmes and training  aligned to COVID 19 SOPs and protocols</a:t>
          </a:r>
          <a:endParaRPr lang="en-GB" sz="900" kern="1200" dirty="0" smtClean="0">
            <a:solidFill>
              <a:sysClr val="windowText" lastClr="000000"/>
            </a:solidFill>
            <a:latin typeface="Lato"/>
            <a:ea typeface="+mn-ea"/>
            <a:cs typeface="+mn-cs"/>
          </a:endParaRPr>
        </a:p>
      </dsp:txBody>
      <dsp:txXfrm>
        <a:off x="3005041" y="5002191"/>
        <a:ext cx="2857602" cy="436457"/>
      </dsp:txXfrm>
    </dsp:sp>
    <dsp:sp modelId="{61FA1666-3CB0-4FB2-8C4B-E313F9D14383}">
      <dsp:nvSpPr>
        <dsp:cNvPr id="0" name=""/>
        <dsp:cNvSpPr/>
      </dsp:nvSpPr>
      <dsp:spPr>
        <a:xfrm>
          <a:off x="2986841" y="5408820"/>
          <a:ext cx="2857602"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Professionalise the Department </a:t>
          </a:r>
          <a:endParaRPr lang="en-GB" sz="1050" kern="1200" dirty="0" smtClean="0">
            <a:solidFill>
              <a:sysClr val="windowText" lastClr="000000"/>
            </a:solidFill>
            <a:latin typeface="Lato"/>
            <a:ea typeface="+mn-ea"/>
            <a:cs typeface="+mn-cs"/>
          </a:endParaRPr>
        </a:p>
      </dsp:txBody>
      <dsp:txXfrm>
        <a:off x="2986841" y="5408820"/>
        <a:ext cx="2857602" cy="291757"/>
      </dsp:txXfrm>
    </dsp:sp>
    <dsp:sp modelId="{A1A7E265-6B33-4908-BF5C-D6CD576CE0F9}">
      <dsp:nvSpPr>
        <dsp:cNvPr id="0" name=""/>
        <dsp:cNvSpPr/>
      </dsp:nvSpPr>
      <dsp:spPr>
        <a:xfrm>
          <a:off x="5993897" y="727626"/>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ts val="0"/>
            </a:spcAft>
          </a:pPr>
          <a:r>
            <a:rPr lang="en-ZA" sz="1100" kern="1200" dirty="0" smtClean="0">
              <a:solidFill>
                <a:sysClr val="windowText" lastClr="000000"/>
              </a:solidFill>
              <a:latin typeface="Lato"/>
              <a:ea typeface="+mn-ea"/>
              <a:cs typeface="+mn-cs"/>
            </a:rPr>
            <a:t>Intervention:</a:t>
          </a:r>
        </a:p>
        <a:p>
          <a:pPr lvl="0" algn="ctr" defTabSz="488950">
            <a:lnSpc>
              <a:spcPct val="90000"/>
            </a:lnSpc>
            <a:spcBef>
              <a:spcPct val="0"/>
            </a:spcBef>
            <a:spcAft>
              <a:spcPts val="0"/>
            </a:spcAft>
          </a:pPr>
          <a:r>
            <a:rPr lang="en-ZA" sz="1100" kern="1200" dirty="0" smtClean="0">
              <a:solidFill>
                <a:sysClr val="windowText" lastClr="000000"/>
              </a:solidFill>
              <a:latin typeface="Lato"/>
              <a:ea typeface="+mn-ea"/>
              <a:cs typeface="+mn-cs"/>
            </a:rPr>
            <a:t>Stringent budget management and enhancing self sufficiency</a:t>
          </a:r>
          <a:endParaRPr lang="en-GB" sz="1100" kern="1200" dirty="0">
            <a:solidFill>
              <a:sysClr val="windowText" lastClr="000000"/>
            </a:solidFill>
            <a:latin typeface="Lato"/>
            <a:ea typeface="+mn-ea"/>
            <a:cs typeface="+mn-cs"/>
          </a:endParaRPr>
        </a:p>
      </dsp:txBody>
      <dsp:txXfrm>
        <a:off x="5993897" y="727626"/>
        <a:ext cx="2857602" cy="469878"/>
      </dsp:txXfrm>
    </dsp:sp>
    <dsp:sp modelId="{889AFA51-C7BD-4939-911F-CB1271EB2AF8}">
      <dsp:nvSpPr>
        <dsp:cNvPr id="0" name=""/>
        <dsp:cNvSpPr/>
      </dsp:nvSpPr>
      <dsp:spPr>
        <a:xfrm>
          <a:off x="6024523" y="1277490"/>
          <a:ext cx="2857602"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Timely budget reprioritisation and budget controls.</a:t>
          </a:r>
          <a:endParaRPr lang="en-GB" sz="1200" kern="1200" dirty="0" smtClean="0">
            <a:solidFill>
              <a:sysClr val="windowText" lastClr="000000"/>
            </a:solidFill>
            <a:latin typeface="Lato"/>
            <a:ea typeface="+mn-ea"/>
            <a:cs typeface="+mn-cs"/>
          </a:endParaRPr>
        </a:p>
      </dsp:txBody>
      <dsp:txXfrm>
        <a:off x="6024523" y="1277490"/>
        <a:ext cx="2857602" cy="484810"/>
      </dsp:txXfrm>
    </dsp:sp>
    <dsp:sp modelId="{5566157D-149C-460F-97F5-CE2E5214442B}">
      <dsp:nvSpPr>
        <dsp:cNvPr id="0" name=""/>
        <dsp:cNvSpPr/>
      </dsp:nvSpPr>
      <dsp:spPr>
        <a:xfrm>
          <a:off x="6010839" y="1923976"/>
          <a:ext cx="2857602"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Continuous cost saving initiatives by way of  bid negotiations and strategic procurement initiatives</a:t>
          </a:r>
          <a:endParaRPr lang="en-GB" sz="1200" kern="1200" dirty="0">
            <a:solidFill>
              <a:sysClr val="windowText" lastClr="000000"/>
            </a:solidFill>
            <a:latin typeface="Lato"/>
            <a:ea typeface="+mn-ea"/>
            <a:cs typeface="+mn-cs"/>
          </a:endParaRPr>
        </a:p>
      </dsp:txBody>
      <dsp:txXfrm>
        <a:off x="6010839" y="1923976"/>
        <a:ext cx="2857602" cy="646415"/>
      </dsp:txXfrm>
    </dsp:sp>
    <dsp:sp modelId="{84973679-6F82-4ED4-A935-CA4A0FD0F148}">
      <dsp:nvSpPr>
        <dsp:cNvPr id="0" name=""/>
        <dsp:cNvSpPr/>
      </dsp:nvSpPr>
      <dsp:spPr>
        <a:xfrm>
          <a:off x="6061803" y="2774324"/>
          <a:ext cx="2857602" cy="108288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Contribute towards growing small businesses and cooperatives and designated groups through 30% set aside to support SMME &amp; Cooperatives (PPPFA)</a:t>
          </a:r>
          <a:endParaRPr lang="en-GB" sz="1200" kern="1200" dirty="0" smtClean="0">
            <a:solidFill>
              <a:sysClr val="windowText" lastClr="000000"/>
            </a:solidFill>
            <a:latin typeface="Lato"/>
            <a:ea typeface="+mn-ea"/>
            <a:cs typeface="+mn-cs"/>
          </a:endParaRPr>
        </a:p>
      </dsp:txBody>
      <dsp:txXfrm>
        <a:off x="6061803" y="2774324"/>
        <a:ext cx="2857602" cy="1082881"/>
      </dsp:txXfrm>
    </dsp:sp>
    <dsp:sp modelId="{9185C20B-3F53-4B76-A66A-573CD6C3DBE0}">
      <dsp:nvSpPr>
        <dsp:cNvPr id="0" name=""/>
        <dsp:cNvSpPr/>
      </dsp:nvSpPr>
      <dsp:spPr>
        <a:xfrm>
          <a:off x="6075487" y="4041308"/>
          <a:ext cx="2857602"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Expansion of opportunities to increase self sufficiency</a:t>
          </a:r>
          <a:endParaRPr lang="en-GB" sz="1400" kern="1200" dirty="0">
            <a:solidFill>
              <a:sysClr val="windowText" lastClr="000000"/>
            </a:solidFill>
            <a:latin typeface="Lato"/>
            <a:ea typeface="+mn-ea"/>
            <a:cs typeface="+mn-cs"/>
          </a:endParaRPr>
        </a:p>
      </dsp:txBody>
      <dsp:txXfrm>
        <a:off x="6075487" y="4041308"/>
        <a:ext cx="2857602" cy="646415"/>
      </dsp:txXfrm>
    </dsp:sp>
    <dsp:sp modelId="{2034BB97-76EC-478B-8B14-7267569BC1AA}">
      <dsp:nvSpPr>
        <dsp:cNvPr id="0" name=""/>
        <dsp:cNvSpPr/>
      </dsp:nvSpPr>
      <dsp:spPr>
        <a:xfrm>
          <a:off x="8984699" y="727626"/>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pPr>
          <a:r>
            <a:rPr lang="en-ZA" sz="1600" kern="1200" dirty="0" smtClean="0">
              <a:solidFill>
                <a:sysClr val="windowText" lastClr="000000"/>
              </a:solidFill>
              <a:latin typeface="Lato"/>
              <a:ea typeface="+mn-ea"/>
              <a:cs typeface="+mn-cs"/>
            </a:rPr>
            <a:t>Intervention:</a:t>
          </a:r>
        </a:p>
        <a:p>
          <a:pPr lvl="0" algn="ctr" defTabSz="711200">
            <a:lnSpc>
              <a:spcPct val="90000"/>
            </a:lnSpc>
            <a:spcBef>
              <a:spcPct val="0"/>
            </a:spcBef>
            <a:spcAft>
              <a:spcPts val="0"/>
            </a:spcAft>
          </a:pPr>
          <a:r>
            <a:rPr lang="en-ZA" sz="1600" kern="1200" dirty="0" smtClean="0">
              <a:solidFill>
                <a:sysClr val="windowText" lastClr="000000"/>
              </a:solidFill>
              <a:latin typeface="Lato"/>
              <a:ea typeface="+mn-ea"/>
              <a:cs typeface="+mn-cs"/>
            </a:rPr>
            <a:t>Improve compliance</a:t>
          </a:r>
          <a:endParaRPr lang="en-GB" sz="1600" kern="1200" dirty="0">
            <a:solidFill>
              <a:sysClr val="windowText" lastClr="000000"/>
            </a:solidFill>
            <a:latin typeface="Lato"/>
            <a:ea typeface="+mn-ea"/>
            <a:cs typeface="+mn-cs"/>
          </a:endParaRPr>
        </a:p>
      </dsp:txBody>
      <dsp:txXfrm>
        <a:off x="8984699" y="727626"/>
        <a:ext cx="2857602" cy="469878"/>
      </dsp:txXfrm>
    </dsp:sp>
    <dsp:sp modelId="{6525961F-8FBD-4859-8DE6-CC029265436B}">
      <dsp:nvSpPr>
        <dsp:cNvPr id="0" name=""/>
        <dsp:cNvSpPr/>
      </dsp:nvSpPr>
      <dsp:spPr>
        <a:xfrm>
          <a:off x="9203222" y="1225324"/>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Review and automate compliance functions</a:t>
          </a:r>
          <a:endParaRPr lang="en-GB" sz="1600" kern="1200" dirty="0">
            <a:solidFill>
              <a:sysClr val="windowText" lastClr="000000"/>
            </a:solidFill>
            <a:latin typeface="Lato"/>
            <a:ea typeface="+mn-ea"/>
            <a:cs typeface="+mn-cs"/>
          </a:endParaRPr>
        </a:p>
      </dsp:txBody>
      <dsp:txXfrm>
        <a:off x="9203222" y="1225324"/>
        <a:ext cx="2321807" cy="646415"/>
      </dsp:txXfrm>
    </dsp:sp>
    <dsp:sp modelId="{78EE5F20-2D72-4F04-BE3F-8283CA4EB390}">
      <dsp:nvSpPr>
        <dsp:cNvPr id="0" name=""/>
        <dsp:cNvSpPr/>
      </dsp:nvSpPr>
      <dsp:spPr>
        <a:xfrm>
          <a:off x="9204681" y="1946374"/>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Review the current supply chain management operating model and awarding of contracts</a:t>
          </a:r>
          <a:endParaRPr lang="en-GB" sz="1200" kern="1200" dirty="0">
            <a:solidFill>
              <a:sysClr val="windowText" lastClr="000000"/>
            </a:solidFill>
            <a:latin typeface="Lato"/>
            <a:ea typeface="+mn-ea"/>
            <a:cs typeface="+mn-cs"/>
          </a:endParaRPr>
        </a:p>
      </dsp:txBody>
      <dsp:txXfrm>
        <a:off x="9204681" y="1946374"/>
        <a:ext cx="2321807" cy="646415"/>
      </dsp:txXfrm>
    </dsp:sp>
    <dsp:sp modelId="{C2E3C8C2-963F-46A6-A733-D84654932C5D}">
      <dsp:nvSpPr>
        <dsp:cNvPr id="0" name=""/>
        <dsp:cNvSpPr/>
      </dsp:nvSpPr>
      <dsp:spPr>
        <a:xfrm>
          <a:off x="9206525" y="2681107"/>
          <a:ext cx="2321807" cy="84600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11175">
            <a:lnSpc>
              <a:spcPct val="90000"/>
            </a:lnSpc>
            <a:spcBef>
              <a:spcPct val="0"/>
            </a:spcBef>
            <a:spcAft>
              <a:spcPct val="35000"/>
            </a:spcAft>
          </a:pPr>
          <a:r>
            <a:rPr lang="en-ZA" sz="1150" kern="1200" dirty="0" smtClean="0">
              <a:solidFill>
                <a:sysClr val="windowText" lastClr="000000"/>
              </a:solidFill>
              <a:latin typeface="Lato"/>
              <a:ea typeface="+mn-ea"/>
              <a:cs typeface="+mn-cs"/>
            </a:rPr>
            <a:t>Review the line of sight between HO, Regions and Management Areas by clearly defining roles and responsibilities</a:t>
          </a:r>
          <a:endParaRPr lang="en-GB" sz="1150" kern="1200" dirty="0">
            <a:solidFill>
              <a:sysClr val="windowText" lastClr="000000"/>
            </a:solidFill>
            <a:latin typeface="Lato"/>
            <a:ea typeface="+mn-ea"/>
            <a:cs typeface="+mn-cs"/>
          </a:endParaRPr>
        </a:p>
      </dsp:txBody>
      <dsp:txXfrm>
        <a:off x="9206525" y="2681107"/>
        <a:ext cx="2321807" cy="846000"/>
      </dsp:txXfrm>
    </dsp:sp>
    <dsp:sp modelId="{B12AF6D6-EC2F-4B2B-992C-8D08E7129CD6}">
      <dsp:nvSpPr>
        <dsp:cNvPr id="0" name=""/>
        <dsp:cNvSpPr/>
      </dsp:nvSpPr>
      <dsp:spPr>
        <a:xfrm>
          <a:off x="9211397" y="3601048"/>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Reorganize Assurance Services to maximize assurance value, optimize operational efficiency</a:t>
          </a:r>
          <a:endParaRPr lang="en-GB" sz="1200" kern="1200" dirty="0">
            <a:solidFill>
              <a:sysClr val="windowText" lastClr="000000"/>
            </a:solidFill>
            <a:latin typeface="Lato"/>
            <a:ea typeface="+mn-ea"/>
            <a:cs typeface="+mn-cs"/>
          </a:endParaRPr>
        </a:p>
      </dsp:txBody>
      <dsp:txXfrm>
        <a:off x="9211397" y="3601048"/>
        <a:ext cx="2321807" cy="646415"/>
      </dsp:txXfrm>
    </dsp:sp>
    <dsp:sp modelId="{66F06CE1-3BB0-4A85-8D70-A149B82E3BB3}">
      <dsp:nvSpPr>
        <dsp:cNvPr id="0" name=""/>
        <dsp:cNvSpPr/>
      </dsp:nvSpPr>
      <dsp:spPr>
        <a:xfrm>
          <a:off x="9203298" y="4310516"/>
          <a:ext cx="2321807"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Monitoring of compliance to legislation and prescripts</a:t>
          </a:r>
          <a:endParaRPr lang="en-GB" sz="1400" kern="1200" dirty="0">
            <a:solidFill>
              <a:sysClr val="windowText" lastClr="000000"/>
            </a:solidFill>
            <a:latin typeface="Lato"/>
            <a:ea typeface="+mn-ea"/>
            <a:cs typeface="+mn-cs"/>
          </a:endParaRPr>
        </a:p>
      </dsp:txBody>
      <dsp:txXfrm>
        <a:off x="9203298" y="4310516"/>
        <a:ext cx="2321807" cy="484810"/>
      </dsp:txXfrm>
    </dsp:sp>
    <dsp:sp modelId="{FDBEDC48-7610-4008-971F-97F33921F3AB}">
      <dsp:nvSpPr>
        <dsp:cNvPr id="0" name=""/>
        <dsp:cNvSpPr/>
      </dsp:nvSpPr>
      <dsp:spPr>
        <a:xfrm>
          <a:off x="9193524" y="4827706"/>
          <a:ext cx="2321807"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a:solidFill>
                <a:sysClr val="windowText" lastClr="000000"/>
              </a:solidFill>
              <a:latin typeface="Lato"/>
              <a:ea typeface="+mn-ea"/>
              <a:cs typeface="+mn-cs"/>
            </a:rPr>
            <a:t>Consequence Management</a:t>
          </a:r>
        </a:p>
      </dsp:txBody>
      <dsp:txXfrm>
        <a:off x="9193524" y="4827706"/>
        <a:ext cx="2321807" cy="291757"/>
      </dsp:txXfrm>
    </dsp:sp>
    <dsp:sp modelId="{D80FB876-3642-4FE6-B768-C498CB2DC45B}">
      <dsp:nvSpPr>
        <dsp:cNvPr id="0" name=""/>
        <dsp:cNvSpPr/>
      </dsp:nvSpPr>
      <dsp:spPr>
        <a:xfrm>
          <a:off x="9179701" y="5178314"/>
          <a:ext cx="2321807"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a:solidFill>
                <a:sysClr val="windowText" lastClr="000000"/>
              </a:solidFill>
              <a:latin typeface="Lato"/>
              <a:ea typeface="+mn-ea"/>
              <a:cs typeface="+mn-cs"/>
            </a:rPr>
            <a:t>Fraud awareness</a:t>
          </a:r>
        </a:p>
      </dsp:txBody>
      <dsp:txXfrm>
        <a:off x="9179701" y="5178314"/>
        <a:ext cx="2321807" cy="29175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0146</cdr:x>
      <cdr:y>0.1653</cdr:y>
    </cdr:from>
    <cdr:to>
      <cdr:x>0.73889</cdr:x>
      <cdr:y>0.86059</cdr:y>
    </cdr:to>
    <cdr:sp macro="" textlink="">
      <cdr:nvSpPr>
        <cdr:cNvPr id="2" name="Oval 1"/>
        <cdr:cNvSpPr/>
      </cdr:nvSpPr>
      <cdr:spPr>
        <a:xfrm xmlns:a="http://schemas.openxmlformats.org/drawingml/2006/main">
          <a:off x="2241479" y="766147"/>
          <a:ext cx="3252506" cy="3222638"/>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 xmlns:r="http://schemas.openxmlformats.org/officeDocument/2006/relationships" xmlns:p="http://schemas.openxmlformats.org/presentationml/2006/main" xmlns:a16="http://schemas.microsoft.com/office/drawing/2014/main" xmlns:lc="http://schemas.openxmlformats.org/drawingml/2006/lockedCanva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dylandgilli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Rebrand Cities</a:t>
            </a:r>
            <a:r>
              <a:rPr lang="en-ID"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16760499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9384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1005412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64805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34220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33394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15755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9</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765230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solidFill>
                  <a:prstClr val="black"/>
                </a:solidFill>
              </a:rPr>
              <a:pPr/>
              <a:t>9</a:t>
            </a:fld>
            <a:endParaRPr lang="en-ZA">
              <a:solidFill>
                <a:prstClr val="black"/>
              </a:solidFill>
            </a:endParaRPr>
          </a:p>
        </p:txBody>
      </p:sp>
    </p:spTree>
    <p:extLst>
      <p:ext uri="{BB962C8B-B14F-4D97-AF65-F5344CB8AC3E}">
        <p14:creationId xmlns:p14="http://schemas.microsoft.com/office/powerpoint/2010/main" val="1781983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pPr/>
              <a:t>‹#›</a:t>
            </a:fld>
            <a:endParaRPr lang="en-GB"/>
          </a:p>
        </p:txBody>
      </p:sp>
      <p:sp>
        <p:nvSpPr>
          <p:cNvPr id="8" name="Text Placeholder 7">
            <a:extLst>
              <a:ext uri="{FF2B5EF4-FFF2-40B4-BE49-F238E27FC236}">
                <a16:creationId xmlns:a16="http://schemas.microsoft.com/office/drawing/2014/main" xmlns=""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581605310"/>
      </p:ext>
    </p:extLst>
  </p:cSld>
  <p:clrMapOvr>
    <a:masterClrMapping/>
  </p:clrMapOvr>
  <p:extLst mod="1">
    <p:ext uri="{DCECCB84-F9BA-43D5-87BE-67443E8EF086}">
      <p15:sldGuideLst xmlns:p15="http://schemas.microsoft.com/office/powerpoint/2012/main">
        <p15:guide id="1" orient="horz" pos="2160">
          <p15:clr>
            <a:srgbClr val="FBAE40"/>
          </p15:clr>
        </p15:guide>
        <p15:guide id="2" pos="36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 xmlns:a16="http://schemas.microsoft.com/office/drawing/2014/main"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 xmlns:a16="http://schemas.microsoft.com/office/drawing/2014/main"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 xmlns:a16="http://schemas.microsoft.com/office/drawing/2014/main"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 xmlns:a16="http://schemas.microsoft.com/office/drawing/2014/main"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 xmlns:a16="http://schemas.microsoft.com/office/drawing/2014/main"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 xmlns:a16="http://schemas.microsoft.com/office/drawing/2014/main"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 xmlns:a16="http://schemas.microsoft.com/office/drawing/2014/main"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 xmlns:a16="http://schemas.microsoft.com/office/drawing/2014/main"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 xmlns:a16="http://schemas.microsoft.com/office/drawing/2014/main"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 xmlns:a16="http://schemas.microsoft.com/office/drawing/2014/main"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 xmlns:a16="http://schemas.microsoft.com/office/drawing/2014/main"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 xmlns:a16="http://schemas.microsoft.com/office/drawing/2014/main"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 xmlns:a16="http://schemas.microsoft.com/office/drawing/2014/main"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userDrawn="1"/>
        </p:nvCxnSpPr>
        <p:spPr>
          <a:xfrm flipV="1">
            <a:off x="4678532" y="910724"/>
            <a:ext cx="7164894" cy="3676"/>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2464792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
        <p:nvSpPr>
          <p:cNvPr id="7" name="Rectangle 6">
            <a:extLst>
              <a:ext uri="{FF2B5EF4-FFF2-40B4-BE49-F238E27FC236}">
                <a16:creationId xmlns:a16="http://schemas.microsoft.com/office/drawing/2014/main" xmlns=""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algn="ctr">
              <a:defRPr/>
            </a:pPr>
            <a:fld id="{516E4415-7190-4740-A70C-FF2C4EC25AE3}" type="slidenum">
              <a:rPr lang="en-ID" sz="1600" kern="0" smtClean="0">
                <a:solidFill>
                  <a:srgbClr val="FFFFFF"/>
                </a:solidFill>
                <a:latin typeface="Segoe UI Light"/>
              </a:rPr>
              <a:pPr algn="ctr">
                <a:defRPr/>
              </a:pPr>
              <a:t>‹#›</a:t>
            </a:fld>
            <a:endParaRPr lang="en-ID" sz="1600" kern="0" dirty="0" smtClean="0">
              <a:solidFill>
                <a:srgbClr val="FFFFFF"/>
              </a:solidFill>
              <a:latin typeface="Segoe UI Light"/>
            </a:endParaRPr>
          </a:p>
        </p:txBody>
      </p:sp>
      <p:sp>
        <p:nvSpPr>
          <p:cNvPr id="8" name="TextBox 7">
            <a:extLst>
              <a:ext uri="{FF2B5EF4-FFF2-40B4-BE49-F238E27FC236}">
                <a16:creationId xmlns:a16="http://schemas.microsoft.com/office/drawing/2014/main" xmlns=""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a16="http://schemas.microsoft.com/office/drawing/2014/main" xmlns=""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a16="http://schemas.microsoft.com/office/drawing/2014/main" xmlns=""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algn="ctr">
              <a:defRPr/>
            </a:pPr>
            <a:endParaRPr lang="en-US" kern="0" smtClean="0">
              <a:solidFill>
                <a:srgbClr val="FFFFFF"/>
              </a:solidFill>
              <a:latin typeface="Segoe UI Light"/>
            </a:endParaRPr>
          </a:p>
        </p:txBody>
      </p:sp>
      <p:sp>
        <p:nvSpPr>
          <p:cNvPr id="12" name="Rounded Rectangle 11">
            <a:extLst>
              <a:ext uri="{FF2B5EF4-FFF2-40B4-BE49-F238E27FC236}">
                <a16:creationId xmlns:a16="http://schemas.microsoft.com/office/drawing/2014/main" xmlns=""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algn="ctr">
              <a:defRPr/>
            </a:pPr>
            <a:endParaRPr lang="en-US" kern="0" smtClean="0">
              <a:solidFill>
                <a:srgbClr val="FFFFFF"/>
              </a:solidFill>
              <a:latin typeface="Segoe UI Light"/>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userDrawn="1"/>
        </p:nvCxnSpPr>
        <p:spPr>
          <a:xfrm flipV="1">
            <a:off x="4786604" y="910724"/>
            <a:ext cx="7056822" cy="13007"/>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a16="http://schemas.microsoft.com/office/drawing/2014/main" xmlns=""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endParaRPr lang="en-US" dirty="0">
              <a:solidFill>
                <a:srgbClr val="000000"/>
              </a:solidFill>
              <a:latin typeface="Georgia"/>
            </a:endParaRPr>
          </a:p>
        </p:txBody>
      </p:sp>
    </p:spTree>
    <p:extLst>
      <p:ext uri="{BB962C8B-B14F-4D97-AF65-F5344CB8AC3E}">
        <p14:creationId xmlns:p14="http://schemas.microsoft.com/office/powerpoint/2010/main" val="104192493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9698902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311065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450750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840224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3772853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992717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2885281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2615108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9873641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a:extLst>
              <a:ext uri="{FF2B5EF4-FFF2-40B4-BE49-F238E27FC236}">
                <a16:creationId xmlns="" xmlns:a16="http://schemas.microsoft.com/office/drawing/2014/main"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290562583"/>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36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90051546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866655"/>
            <a:chOff x="-13298" y="0"/>
            <a:chExt cx="12192000" cy="6866655"/>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a16="http://schemas.microsoft.com/office/drawing/2014/main" xmlns="" id="{DF200334-FF46-1D40-B2FE-CA974742C6B8}"/>
                </a:ext>
              </a:extLst>
            </p:cNvPr>
            <p:cNvSpPr/>
            <p:nvPr/>
          </p:nvSpPr>
          <p:spPr>
            <a:xfrm>
              <a:off x="-13298" y="3963885"/>
              <a:ext cx="12192000" cy="2902770"/>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a16="http://schemas.microsoft.com/office/drawing/2014/main" xmlns="" id="{B1364B69-20F5-6548-883F-0675B1C2D27B}"/>
                </a:ext>
              </a:extLst>
            </p:cNvPr>
            <p:cNvSpPr/>
            <p:nvPr/>
          </p:nvSpPr>
          <p:spPr>
            <a:xfrm>
              <a:off x="3597112" y="0"/>
              <a:ext cx="4639726" cy="61200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a16="http://schemas.microsoft.com/office/drawing/2014/main" xmlns="" id="{DADDC354-7EBE-3548-9016-82A6B02C3C95}"/>
                </a:ext>
              </a:extLst>
            </p:cNvPr>
            <p:cNvSpPr txBox="1">
              <a:spLocks/>
            </p:cNvSpPr>
            <p:nvPr/>
          </p:nvSpPr>
          <p:spPr>
            <a:xfrm>
              <a:off x="3714161" y="4162821"/>
              <a:ext cx="4522676" cy="2215991"/>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a:t>
              </a:r>
              <a:r>
                <a:rPr lang="en-US" sz="3600" dirty="0">
                  <a:solidFill>
                    <a:srgbClr val="FFFFFF"/>
                  </a:solidFill>
                  <a:latin typeface="Georgia"/>
                </a:rPr>
                <a:t>6</a:t>
              </a:r>
              <a:r>
                <a:rPr lang="en-US" sz="3600" dirty="0" smtClean="0">
                  <a:solidFill>
                    <a:srgbClr val="FFFFFF"/>
                  </a:solidFill>
                  <a:latin typeface="Georgia"/>
                </a:rPr>
                <a:t>: High performing ethical </a:t>
              </a:r>
              <a:r>
                <a:rPr lang="en-US" sz="3600" dirty="0" err="1" smtClean="0">
                  <a:solidFill>
                    <a:srgbClr val="FFFFFF"/>
                  </a:solidFill>
                  <a:latin typeface="Georgia"/>
                </a:rPr>
                <a:t>organisation</a:t>
              </a:r>
              <a:r>
                <a:rPr lang="en-US" sz="3600" dirty="0" smtClean="0">
                  <a:solidFill>
                    <a:srgbClr val="FFFFFF"/>
                  </a:solidFill>
                  <a:latin typeface="Georgia"/>
                </a:rPr>
                <a:t> </a:t>
              </a:r>
              <a:endParaRPr lang="en-US" sz="3600" dirty="0">
                <a:solidFill>
                  <a:srgbClr val="FFFFFF"/>
                </a:solidFill>
                <a:latin typeface="Georgia"/>
              </a:endParaRPr>
            </a:p>
            <a:p>
              <a:pPr algn="ctr">
                <a:lnSpc>
                  <a:spcPct val="100000"/>
                </a:lnSpc>
              </a:pPr>
              <a:endParaRPr lang="en-ID" sz="3600" dirty="0">
                <a:solidFill>
                  <a:srgbClr val="FFFFFF"/>
                </a:solidFill>
                <a:latin typeface="Georgia"/>
              </a:endParaRPr>
            </a:p>
          </p:txBody>
        </p:sp>
        <p:cxnSp>
          <p:nvCxnSpPr>
            <p:cNvPr id="12" name="Straight Connector 11">
              <a:extLst>
                <a:ext uri="{FF2B5EF4-FFF2-40B4-BE49-F238E27FC236}">
                  <a16:creationId xmlns:a16="http://schemas.microsoft.com/office/drawing/2014/main" xmlns="" id="{B448019C-7EFB-F54B-AD80-B5CB12A12316}"/>
                </a:ext>
              </a:extLst>
            </p:cNvPr>
            <p:cNvCxnSpPr>
              <a:cxnSpLocks/>
            </p:cNvCxnSpPr>
            <p:nvPr/>
          </p:nvCxnSpPr>
          <p:spPr>
            <a:xfrm flipH="1">
              <a:off x="5028582" y="3962401"/>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2161AD9-4FEA-DE47-AB7A-0D3D9F34C056}"/>
                </a:ext>
              </a:extLst>
            </p:cNvPr>
            <p:cNvCxnSpPr>
              <a:cxnSpLocks/>
            </p:cNvCxnSpPr>
            <p:nvPr/>
          </p:nvCxnSpPr>
          <p:spPr>
            <a:xfrm flipH="1">
              <a:off x="4289475" y="3962401"/>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a16="http://schemas.microsoft.com/office/drawing/2014/main" xmlns="" id="{DADDC354-7EBE-3548-9016-82A6B02C3C95}"/>
                </a:ext>
              </a:extLst>
            </p:cNvPr>
            <p:cNvSpPr txBox="1">
              <a:spLocks/>
            </p:cNvSpPr>
            <p:nvPr/>
          </p:nvSpPr>
          <p:spPr>
            <a:xfrm>
              <a:off x="3876071" y="361407"/>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7560352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TextBox 8">
            <a:extLst>
              <a:ext uri="{FF2B5EF4-FFF2-40B4-BE49-F238E27FC236}">
                <a16:creationId xmlns:a16="http://schemas.microsoft.com/office/drawing/2014/main" xmlns=""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1: Improved safety and security</a:t>
            </a:r>
            <a:endParaRPr lang="da-DK" sz="1400" b="1" dirty="0">
              <a:solidFill>
                <a:srgbClr val="FFFFFF"/>
              </a:solidFill>
              <a:latin typeface="Segoe UI Light"/>
              <a:cs typeface="Segoe UI" panose="020B0502040204020203" pitchFamily="34" charset="0"/>
            </a:endParaRPr>
          </a:p>
        </p:txBody>
      </p:sp>
      <p:sp>
        <p:nvSpPr>
          <p:cNvPr id="10"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4000" dirty="0" smtClean="0">
                <a:solidFill>
                  <a:srgbClr val="000000"/>
                </a:solidFill>
                <a:latin typeface="Georgia"/>
              </a:rPr>
              <a:t>Solution tree</a:t>
            </a:r>
            <a:endParaRPr lang="en-US" sz="4000" dirty="0">
              <a:solidFill>
                <a:srgbClr val="000000"/>
              </a:solidFill>
              <a:latin typeface="Georgia"/>
            </a:endParaRPr>
          </a:p>
        </p:txBody>
      </p:sp>
      <p:graphicFrame>
        <p:nvGraphicFramePr>
          <p:cNvPr id="75" name="Diagram 74"/>
          <p:cNvGraphicFramePr/>
          <p:nvPr>
            <p:extLst/>
          </p:nvPr>
        </p:nvGraphicFramePr>
        <p:xfrm>
          <a:off x="204144" y="1035571"/>
          <a:ext cx="11987856" cy="6626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868187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2466413402"/>
              </p:ext>
            </p:extLst>
          </p:nvPr>
        </p:nvGraphicFramePr>
        <p:xfrm>
          <a:off x="269136" y="1191764"/>
          <a:ext cx="11574290" cy="5356447"/>
        </p:xfrm>
        <a:graphic>
          <a:graphicData uri="http://schemas.openxmlformats.org/drawingml/2006/table">
            <a:tbl>
              <a:tblPr firstRow="1" firstCol="1" bandRow="1"/>
              <a:tblGrid>
                <a:gridCol w="2055180">
                  <a:extLst>
                    <a:ext uri="{9D8B030D-6E8A-4147-A177-3AD203B41FA5}">
                      <a16:colId xmlns:a16="http://schemas.microsoft.com/office/drawing/2014/main" xmlns="" val="2672124337"/>
                    </a:ext>
                  </a:extLst>
                </a:gridCol>
                <a:gridCol w="3294993">
                  <a:extLst>
                    <a:ext uri="{9D8B030D-6E8A-4147-A177-3AD203B41FA5}">
                      <a16:colId xmlns:a16="http://schemas.microsoft.com/office/drawing/2014/main" xmlns="" val="102369112"/>
                    </a:ext>
                  </a:extLst>
                </a:gridCol>
                <a:gridCol w="1388679">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245154">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1145160">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Safe and empowered communities through sustainable economic development </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63480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GB" sz="1400" b="1" i="0" u="none" strike="noStrike" baseline="0" dirty="0" smtClean="0">
                          <a:solidFill>
                            <a:schemeClr val="tx1"/>
                          </a:solidFill>
                          <a:latin typeface="+mj-lt"/>
                          <a:ea typeface="+mn-ea"/>
                          <a:cs typeface="+mn-cs"/>
                        </a:rPr>
                        <a:t>Outcome (Strategic Plan)</a:t>
                      </a:r>
                      <a:endParaRPr lang="en-US" sz="1400" b="1" i="0" u="none" strike="noStrike" baseline="0" dirty="0" smtClean="0">
                        <a:solidFill>
                          <a:schemeClr val="tx1"/>
                        </a:solidFill>
                        <a:latin typeface="+mj-lt"/>
                        <a:ea typeface="+mn-ea"/>
                        <a:cs typeface="+mn-cs"/>
                      </a:endParaRPr>
                    </a:p>
                    <a:p>
                      <a:r>
                        <a:rPr lang="en-US" sz="1400" b="0" i="0" u="none" strike="noStrike" kern="1200" baseline="0" dirty="0" smtClean="0">
                          <a:solidFill>
                            <a:schemeClr val="tx1"/>
                          </a:solidFill>
                          <a:latin typeface="+mj-lt"/>
                          <a:ea typeface="+mn-ea"/>
                          <a:cs typeface="+mn-cs"/>
                        </a:rPr>
                        <a:t>High performing ethical </a:t>
                      </a:r>
                      <a:r>
                        <a:rPr lang="en-US" sz="1400" b="0" i="0" u="none" strike="noStrike" kern="1200" baseline="0" dirty="0" err="1" smtClean="0">
                          <a:solidFill>
                            <a:schemeClr val="tx1"/>
                          </a:solidFill>
                          <a:latin typeface="+mj-lt"/>
                          <a:ea typeface="+mn-ea"/>
                          <a:cs typeface="+mn-cs"/>
                        </a:rPr>
                        <a:t>organisation</a:t>
                      </a:r>
                      <a:r>
                        <a:rPr lang="en-US" sz="1400" b="0" i="0" u="none" strike="noStrike" kern="1200" baseline="0" dirty="0" smtClean="0">
                          <a:solidFill>
                            <a:schemeClr val="tx1"/>
                          </a:solidFill>
                          <a:latin typeface="+mj-lt"/>
                          <a:ea typeface="+mn-ea"/>
                          <a:cs typeface="+mn-cs"/>
                        </a:rPr>
                        <a:t> </a:t>
                      </a:r>
                      <a:endParaRPr lang="en-GB" sz="1400" b="0" i="0" u="none" strike="noStrike" kern="1200"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pPr algn="just">
                        <a:lnSpc>
                          <a:spcPct val="115000"/>
                        </a:lnSpc>
                        <a:spcAft>
                          <a:spcPts val="0"/>
                        </a:spcAft>
                      </a:pPr>
                      <a:r>
                        <a:rPr lang="en-GB" sz="1400" b="0" i="0" u="none" strike="noStrike" baseline="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pPr algn="just">
                        <a:lnSpc>
                          <a:spcPct val="115000"/>
                        </a:lnSpc>
                        <a:spcAft>
                          <a:spcPts val="0"/>
                        </a:spcAft>
                      </a:pPr>
                      <a:r>
                        <a:rPr lang="en-GB" sz="1400" b="0" i="0" u="none" strike="noStrike" baseline="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458892">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Output (current)</a:t>
                      </a:r>
                    </a:p>
                    <a:p>
                      <a:pPr algn="l">
                        <a:lnSpc>
                          <a:spcPct val="115000"/>
                        </a:lnSpc>
                        <a:spcAft>
                          <a:spcPts val="0"/>
                        </a:spcAft>
                      </a:pPr>
                      <a:r>
                        <a:rPr lang="en-US" sz="1400" b="0" i="0" u="none" strike="noStrike" baseline="0" dirty="0" smtClean="0">
                          <a:solidFill>
                            <a:schemeClr val="tx1"/>
                          </a:solidFill>
                          <a:latin typeface="+mj-lt"/>
                          <a:ea typeface="+mn-ea"/>
                          <a:cs typeface="+mn-cs"/>
                        </a:rPr>
                        <a:t>Youth employment</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of youth employed within the Departmen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dirty="0" smtClean="0">
                          <a:solidFill>
                            <a:schemeClr val="tx1"/>
                          </a:solidFill>
                          <a:latin typeface="+mj-lt"/>
                          <a:ea typeface="+mn-ea"/>
                          <a:cs typeface="+mn-cs"/>
                        </a:rPr>
                        <a:t>20%</a:t>
                      </a:r>
                      <a:endParaRPr lang="en-ZA" sz="1400" b="0" i="0" u="none" strike="noStrike" kern="1200" baseline="0" dirty="0" smtClean="0">
                        <a:solidFill>
                          <a:schemeClr val="tx1"/>
                        </a:solidFill>
                        <a:latin typeface="+mj-lt"/>
                        <a:ea typeface="+mn-ea"/>
                        <a:cs typeface="+mn-cs"/>
                      </a:endParaRPr>
                    </a:p>
                    <a:p>
                      <a:pPr>
                        <a:lnSpc>
                          <a:spcPct val="115000"/>
                        </a:lnSpc>
                        <a:spcAft>
                          <a:spcPts val="0"/>
                        </a:spcAft>
                      </a:pPr>
                      <a:r>
                        <a:rPr lang="en-GB" sz="1400" b="0" i="0" u="none" strike="noStrike" kern="1200" baseline="0" dirty="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GB" sz="1400" b="0" i="0" u="none" strike="noStrike" kern="1200" baseline="0" dirty="0" smtClean="0">
                          <a:solidFill>
                            <a:schemeClr val="tx1"/>
                          </a:solidFill>
                          <a:latin typeface="+mj-lt"/>
                          <a:ea typeface="+mn-ea"/>
                          <a:cs typeface="+mn-cs"/>
                        </a:rPr>
                        <a:t>30%</a:t>
                      </a:r>
                      <a:endParaRPr lang="en-ZA" sz="1400" b="0" i="0" u="none" strike="noStrike" kern="1200" baseline="0" dirty="0" smtClean="0">
                        <a:solidFill>
                          <a:schemeClr val="tx1"/>
                        </a:solidFill>
                        <a:latin typeface="+mj-lt"/>
                        <a:ea typeface="+mn-ea"/>
                        <a:cs typeface="+mn-cs"/>
                      </a:endParaRPr>
                    </a:p>
                    <a:p>
                      <a:pPr>
                        <a:lnSpc>
                          <a:spcPct val="115000"/>
                        </a:lnSpc>
                        <a:spcAft>
                          <a:spcPts val="0"/>
                        </a:spcAft>
                      </a:pPr>
                      <a:r>
                        <a:rPr lang="en-GB" sz="1400" b="0" i="0" u="none" strike="noStrike" kern="1200" baseline="0" dirty="0" smtClean="0">
                          <a:solidFill>
                            <a:schemeClr val="tx1"/>
                          </a:solidFill>
                          <a:latin typeface="+mj-lt"/>
                          <a:ea typeface="+mn-ea"/>
                          <a:cs typeface="+mn-cs"/>
                        </a:rPr>
                        <a:t>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1929765">
                <a:tc>
                  <a:txBody>
                    <a:bodyPr/>
                    <a:lstStyle/>
                    <a:p>
                      <a:pPr algn="l">
                        <a:lnSpc>
                          <a:spcPct val="115000"/>
                        </a:lnSpc>
                        <a:spcAft>
                          <a:spcPts val="0"/>
                        </a:spcAft>
                      </a:pPr>
                      <a:r>
                        <a:rPr lang="en-US" sz="1400" b="0" i="0" u="none" strike="noStrike" baseline="0" dirty="0" smtClean="0">
                          <a:solidFill>
                            <a:schemeClr val="tx1"/>
                          </a:solidFill>
                          <a:latin typeface="+mj-lt"/>
                          <a:ea typeface="+mn-ea"/>
                          <a:cs typeface="+mn-cs"/>
                        </a:rPr>
                        <a:t>Employment Equity (EE)</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Percentage compliance to the EE plan in the  filling of position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GB" sz="1400" b="0" i="0" u="none" strike="noStrike" kern="1200" baseline="0" dirty="0" smtClean="0">
                          <a:solidFill>
                            <a:schemeClr val="tx1"/>
                          </a:solidFill>
                          <a:latin typeface="+mj-lt"/>
                          <a:ea typeface="+mn-ea"/>
                          <a:cs typeface="+mn-cs"/>
                        </a:rPr>
                        <a:t>SMS</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F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MS</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F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PWDs 2%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GB" sz="1400" b="0" i="0" u="none" strike="noStrike" kern="1200" baseline="0" dirty="0" smtClean="0">
                          <a:solidFill>
                            <a:schemeClr val="tx1"/>
                          </a:solidFill>
                          <a:latin typeface="+mn-lt"/>
                          <a:ea typeface="+mn-ea"/>
                          <a:cs typeface="+mn-cs"/>
                        </a:rPr>
                        <a:t>S</a:t>
                      </a:r>
                      <a:r>
                        <a:rPr lang="en-GB" sz="1400" b="0" i="0" u="none" strike="noStrike" kern="1200" baseline="0" dirty="0" smtClean="0">
                          <a:solidFill>
                            <a:schemeClr val="tx1"/>
                          </a:solidFill>
                          <a:latin typeface="+mj-lt"/>
                          <a:ea typeface="+mn-ea"/>
                          <a:cs typeface="+mn-cs"/>
                        </a:rPr>
                        <a:t>MS</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F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MS</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M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F = 50%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 </a:t>
                      </a:r>
                      <a:endParaRPr lang="en-ZA" sz="1400" b="0" i="0" u="none" strike="noStrike" kern="1200" baseline="0" dirty="0" smtClean="0">
                        <a:solidFill>
                          <a:schemeClr val="tx1"/>
                        </a:solidFill>
                        <a:latin typeface="+mj-lt"/>
                        <a:ea typeface="+mn-ea"/>
                        <a:cs typeface="+mn-cs"/>
                      </a:endParaRPr>
                    </a:p>
                    <a:p>
                      <a:r>
                        <a:rPr lang="en-GB" sz="1400" b="0" i="0" u="none" strike="noStrike" kern="1200" baseline="0" dirty="0" smtClean="0">
                          <a:solidFill>
                            <a:schemeClr val="tx1"/>
                          </a:solidFill>
                          <a:latin typeface="+mj-lt"/>
                          <a:ea typeface="+mn-ea"/>
                          <a:cs typeface="+mn-cs"/>
                        </a:rPr>
                        <a:t>PWDs 2%  </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82161">
                <a:tc>
                  <a:txBody>
                    <a:bodyPr/>
                    <a:lstStyle/>
                    <a:p>
                      <a:pPr algn="l">
                        <a:lnSpc>
                          <a:spcPct val="115000"/>
                        </a:lnSpc>
                        <a:spcAft>
                          <a:spcPts val="0"/>
                        </a:spcAft>
                      </a:pPr>
                      <a:r>
                        <a:rPr lang="en-US" sz="1400" b="0" i="0" u="none" strike="noStrike" baseline="0" dirty="0" smtClean="0">
                          <a:solidFill>
                            <a:schemeClr val="tx1"/>
                          </a:solidFill>
                          <a:latin typeface="+mj-lt"/>
                          <a:ea typeface="+mn-ea"/>
                          <a:cs typeface="+mn-cs"/>
                        </a:rPr>
                        <a:t>Human Resource Development</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a:solidFill>
                            <a:schemeClr val="tx1"/>
                          </a:solidFill>
                          <a:latin typeface="+mj-lt"/>
                          <a:ea typeface="+mn-ea"/>
                          <a:cs typeface="+mn-cs"/>
                        </a:rPr>
                        <a:t>Number of COVID-19 awareness sessions conducted for </a:t>
                      </a:r>
                      <a:r>
                        <a:rPr lang="en-GB" sz="1400" b="0" i="0" u="none" strike="noStrike" kern="1200" baseline="0" dirty="0" smtClean="0">
                          <a:solidFill>
                            <a:schemeClr val="tx1"/>
                          </a:solidFill>
                          <a:latin typeface="+mj-lt"/>
                          <a:ea typeface="+mn-ea"/>
                          <a:cs typeface="+mn-cs"/>
                        </a:rPr>
                        <a:t>officials</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2 304</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baseline="0" dirty="0" smtClean="0">
                          <a:solidFill>
                            <a:schemeClr val="tx1"/>
                          </a:solidFill>
                          <a:latin typeface="+mj-lt"/>
                          <a:ea typeface="+mn-ea"/>
                          <a:cs typeface="+mn-cs"/>
                        </a:rPr>
                        <a:t>576</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783676" y="776794"/>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422048203"/>
              </p:ext>
            </p:extLst>
          </p:nvPr>
        </p:nvGraphicFramePr>
        <p:xfrm>
          <a:off x="325413" y="1285403"/>
          <a:ext cx="11574290" cy="2035498"/>
        </p:xfrm>
        <a:graphic>
          <a:graphicData uri="http://schemas.openxmlformats.org/drawingml/2006/table">
            <a:tbl>
              <a:tblPr firstRow="1" firstCol="1" bandRow="1"/>
              <a:tblGrid>
                <a:gridCol w="2115500">
                  <a:extLst>
                    <a:ext uri="{9D8B030D-6E8A-4147-A177-3AD203B41FA5}">
                      <a16:colId xmlns:a16="http://schemas.microsoft.com/office/drawing/2014/main" xmlns="" val="2672124337"/>
                    </a:ext>
                  </a:extLst>
                </a:gridCol>
                <a:gridCol w="3150152">
                  <a:extLst>
                    <a:ext uri="{9D8B030D-6E8A-4147-A177-3AD203B41FA5}">
                      <a16:colId xmlns:a16="http://schemas.microsoft.com/office/drawing/2014/main" xmlns="" val="102369112"/>
                    </a:ext>
                  </a:extLst>
                </a:gridCol>
                <a:gridCol w="1473200">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0148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52568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rtl="0" eaLnBrk="1" fontAlgn="auto" latinLnBrk="0" hangingPunct="1">
                        <a:lnSpc>
                          <a:spcPct val="115000"/>
                        </a:lnSpc>
                        <a:spcBef>
                          <a:spcPts val="0"/>
                        </a:spcBef>
                        <a:spcAft>
                          <a:spcPts val="0"/>
                        </a:spcAft>
                        <a:buClrTx/>
                        <a:buSzTx/>
                        <a:buFontTx/>
                        <a:buNone/>
                        <a:tabLst/>
                        <a:defRPr/>
                      </a:pPr>
                      <a:r>
                        <a:rPr lang="en-GB" sz="1400" b="1" i="0" u="none" strike="noStrike" kern="1200" baseline="0" dirty="0" smtClean="0">
                          <a:solidFill>
                            <a:schemeClr val="tx1"/>
                          </a:solidFill>
                          <a:latin typeface="Calibri"/>
                          <a:ea typeface=""/>
                          <a:cs typeface=""/>
                        </a:rPr>
                        <a:t>Output (new)</a:t>
                      </a:r>
                    </a:p>
                    <a:p>
                      <a:pPr algn="just">
                        <a:lnSpc>
                          <a:spcPct val="115000"/>
                        </a:lnSpc>
                        <a:spcAft>
                          <a:spcPts val="0"/>
                        </a:spcAft>
                      </a:pPr>
                      <a:endParaRPr lang="en-GB" sz="1400" b="1" i="0" u="none" strike="noStrike" kern="1200" baseline="0" dirty="0" smtClean="0">
                        <a:solidFill>
                          <a:schemeClr val="tx1"/>
                        </a:solidFill>
                        <a:latin typeface="Calibri"/>
                        <a:ea typeface=""/>
                        <a:cs typeface=""/>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723146">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15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15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b="0" i="0" u="none" strike="noStrike" kern="1200" baseline="0" dirty="0" smtClean="0">
                          <a:solidFill>
                            <a:schemeClr val="tx1"/>
                          </a:solidFill>
                          <a:latin typeface="+mj-lt"/>
                          <a:ea typeface="+mn-ea"/>
                          <a:cs typeface="+mn-cs"/>
                        </a:rPr>
                        <a:t>Review of the Organisational Structure</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46</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485176">
                <a:tc vMerge="1">
                  <a:txBody>
                    <a:bodyPr/>
                    <a:lstStyle/>
                    <a:p>
                      <a:endParaRPr lang="en-ZA"/>
                    </a:p>
                  </a:txBody>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236372" y="910723"/>
            <a:ext cx="4607054" cy="1"/>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A8E74C14-B365-4B36-897D-8CBA79973FDC}"/>
              </a:ext>
            </a:extLst>
          </p:cNvPr>
          <p:cNvSpPr>
            <a:spLocks noGrp="1"/>
          </p:cNvSpPr>
          <p:nvPr>
            <p:ph type="sldNum" sz="quarter" idx="12"/>
          </p:nvPr>
        </p:nvSpPr>
        <p:spPr/>
        <p:txBody>
          <a:bodyPr/>
          <a:lstStyle/>
          <a:p>
            <a:fld id="{5E48029D-87D6-48C3-BA4B-1065A63511DF}" type="slidenum">
              <a:rPr lang="en-GB" smtClean="0"/>
              <a:pPr/>
              <a:t>13</a:t>
            </a:fld>
            <a:endParaRPr lang="en-GB"/>
          </a:p>
        </p:txBody>
      </p:sp>
      <p:sp>
        <p:nvSpPr>
          <p:cNvPr id="77" name="TextBox 76">
            <a:extLst>
              <a:ext uri="{FF2B5EF4-FFF2-40B4-BE49-F238E27FC236}">
                <a16:creationId xmlns="" xmlns:a16="http://schemas.microsoft.com/office/drawing/2014/main" id="{3D1D2E24-36FA-6149-B377-163EFDF93ABC}"/>
              </a:ext>
            </a:extLst>
          </p:cNvPr>
          <p:cNvSpPr txBox="1"/>
          <p:nvPr/>
        </p:nvSpPr>
        <p:spPr>
          <a:xfrm>
            <a:off x="711677" y="799919"/>
            <a:ext cx="379569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83" name="Slide Number Placeholder 1">
            <a:extLst>
              <a:ext uri="{FF2B5EF4-FFF2-40B4-BE49-F238E27FC236}">
                <a16:creationId xmlns:a16="http://schemas.microsoft.com/office/drawing/2014/main" xmlns="" id="{A8E74C14-B365-4B36-897D-8CBA79973FDC}"/>
              </a:ext>
            </a:extLst>
          </p:cNvPr>
          <p:cNvSpPr txBox="1">
            <a:spLocks/>
          </p:cNvSpPr>
          <p:nvPr/>
        </p:nvSpPr>
        <p:spPr>
          <a:xfrm>
            <a:off x="10783400" y="6574609"/>
            <a:ext cx="805350" cy="287338"/>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E48029D-87D6-48C3-BA4B-1065A63511DF}" type="slidenum">
              <a:rPr lang="en-GB" smtClean="0">
                <a:solidFill>
                  <a:prstClr val="black">
                    <a:tint val="75000"/>
                  </a:prstClr>
                </a:solidFill>
                <a:latin typeface="Lato"/>
              </a:rPr>
              <a:pPr/>
              <a:t>13</a:t>
            </a:fld>
            <a:endParaRPr lang="en-GB">
              <a:solidFill>
                <a:prstClr val="black">
                  <a:tint val="75000"/>
                </a:prstClr>
              </a:solidFill>
              <a:latin typeface="Lato"/>
            </a:endParaRPr>
          </a:p>
        </p:txBody>
      </p:sp>
      <p:sp>
        <p:nvSpPr>
          <p:cNvPr id="163" name="Slide Number Placeholder 1">
            <a:extLst>
              <a:ext uri="{FF2B5EF4-FFF2-40B4-BE49-F238E27FC236}">
                <a16:creationId xmlns:a16="http://schemas.microsoft.com/office/drawing/2014/main" xmlns="" id="{A8E74C14-B365-4B36-897D-8CBA79973FDC}"/>
              </a:ext>
            </a:extLst>
          </p:cNvPr>
          <p:cNvSpPr txBox="1">
            <a:spLocks/>
          </p:cNvSpPr>
          <p:nvPr/>
        </p:nvSpPr>
        <p:spPr>
          <a:xfrm>
            <a:off x="10783400" y="6574609"/>
            <a:ext cx="805350" cy="28733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8029D-87D6-48C3-BA4B-1065A63511DF}" type="slidenum">
              <a:rPr lang="en-GB" smtClean="0"/>
              <a:pPr/>
              <a:t>13</a:t>
            </a:fld>
            <a:endParaRPr lang="en-GB" dirty="0"/>
          </a:p>
        </p:txBody>
      </p:sp>
      <p:cxnSp>
        <p:nvCxnSpPr>
          <p:cNvPr id="164" name="Straight Arrow Connector 163">
            <a:extLst>
              <a:ext uri="{FF2B5EF4-FFF2-40B4-BE49-F238E27FC236}">
                <a16:creationId xmlns:a16="http://schemas.microsoft.com/office/drawing/2014/main" xmlns="" id="{00D009DB-35CC-49C2-9338-67E33A8E402B}"/>
              </a:ext>
            </a:extLst>
          </p:cNvPr>
          <p:cNvCxnSpPr>
            <a:cxnSpLocks/>
          </p:cNvCxnSpPr>
          <p:nvPr/>
        </p:nvCxnSpPr>
        <p:spPr>
          <a:xfrm>
            <a:off x="432631" y="6213987"/>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xmlns="" id="{B89E0ABE-45B1-4FD6-BDA2-178677933EE6}"/>
              </a:ext>
            </a:extLst>
          </p:cNvPr>
          <p:cNvGrpSpPr/>
          <p:nvPr/>
        </p:nvGrpSpPr>
        <p:grpSpPr>
          <a:xfrm>
            <a:off x="118808" y="1165609"/>
            <a:ext cx="313826" cy="5048379"/>
            <a:chOff x="118808" y="1165609"/>
            <a:chExt cx="313826" cy="5048379"/>
          </a:xfrm>
        </p:grpSpPr>
        <p:cxnSp>
          <p:nvCxnSpPr>
            <p:cNvPr id="166" name="Straight Arrow Connector 165">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a:solidFill>
                    <a:sysClr val="windowText" lastClr="000000"/>
                  </a:solidFill>
                </a:rPr>
                <a:t>OUTSOURCE</a:t>
              </a:r>
            </a:p>
          </p:txBody>
        </p:sp>
        <p:sp>
          <p:nvSpPr>
            <p:cNvPr id="168" name="Rectangle 167">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NTROL</a:t>
              </a:r>
            </a:p>
          </p:txBody>
        </p:sp>
        <p:sp>
          <p:nvSpPr>
            <p:cNvPr id="169" name="Rectangle 168">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NSOURCE</a:t>
              </a:r>
            </a:p>
          </p:txBody>
        </p:sp>
      </p:grpSp>
      <p:grpSp>
        <p:nvGrpSpPr>
          <p:cNvPr id="170" name="Group 169">
            <a:extLst>
              <a:ext uri="{FF2B5EF4-FFF2-40B4-BE49-F238E27FC236}">
                <a16:creationId xmlns:a16="http://schemas.microsoft.com/office/drawing/2014/main" xmlns="" id="{D04092A1-50F5-4BDA-AB07-0F687808BD99}"/>
              </a:ext>
            </a:extLst>
          </p:cNvPr>
          <p:cNvGrpSpPr/>
          <p:nvPr/>
        </p:nvGrpSpPr>
        <p:grpSpPr>
          <a:xfrm>
            <a:off x="366083" y="6230206"/>
            <a:ext cx="11044863" cy="337866"/>
            <a:chOff x="366083" y="6230206"/>
            <a:chExt cx="11044863" cy="337866"/>
          </a:xfrm>
        </p:grpSpPr>
        <p:sp>
          <p:nvSpPr>
            <p:cNvPr id="171" name="Rectangle 170">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ZA" sz="1200">
                  <a:solidFill>
                    <a:sysClr val="windowText" lastClr="000000"/>
                  </a:solidFill>
                </a:rPr>
                <a:t>DECENTRALISE</a:t>
              </a:r>
            </a:p>
          </p:txBody>
        </p:sp>
        <p:sp>
          <p:nvSpPr>
            <p:cNvPr id="172" name="Rectangle 171">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ORDINATION</a:t>
              </a:r>
            </a:p>
          </p:txBody>
        </p:sp>
        <p:sp>
          <p:nvSpPr>
            <p:cNvPr id="173" name="Rectangle 172">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CENTRALISE</a:t>
              </a:r>
            </a:p>
          </p:txBody>
        </p:sp>
      </p:grpSp>
      <p:grpSp>
        <p:nvGrpSpPr>
          <p:cNvPr id="174" name="Group 173">
            <a:extLst>
              <a:ext uri="{FF2B5EF4-FFF2-40B4-BE49-F238E27FC236}">
                <a16:creationId xmlns:a16="http://schemas.microsoft.com/office/drawing/2014/main" xmlns="" id="{D86419E5-AEBF-4E1B-9C28-331E4A99AEA4}"/>
              </a:ext>
            </a:extLst>
          </p:cNvPr>
          <p:cNvGrpSpPr/>
          <p:nvPr/>
        </p:nvGrpSpPr>
        <p:grpSpPr>
          <a:xfrm>
            <a:off x="218700" y="6584820"/>
            <a:ext cx="748998" cy="262563"/>
            <a:chOff x="422379" y="5047383"/>
            <a:chExt cx="980427" cy="303071"/>
          </a:xfrm>
        </p:grpSpPr>
        <p:sp>
          <p:nvSpPr>
            <p:cNvPr id="175" name="Oval 174">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176" name="Rectangle 175">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urrent</a:t>
              </a:r>
            </a:p>
          </p:txBody>
        </p:sp>
      </p:grpSp>
      <p:grpSp>
        <p:nvGrpSpPr>
          <p:cNvPr id="177" name="Group 176">
            <a:extLst>
              <a:ext uri="{FF2B5EF4-FFF2-40B4-BE49-F238E27FC236}">
                <a16:creationId xmlns:a16="http://schemas.microsoft.com/office/drawing/2014/main" xmlns="" id="{0A44A5E0-9FEF-47E5-9E25-E828C66EFF91}"/>
              </a:ext>
            </a:extLst>
          </p:cNvPr>
          <p:cNvGrpSpPr/>
          <p:nvPr/>
        </p:nvGrpSpPr>
        <p:grpSpPr>
          <a:xfrm>
            <a:off x="909345" y="6603121"/>
            <a:ext cx="1000441" cy="225960"/>
            <a:chOff x="422379" y="5399783"/>
            <a:chExt cx="1309562" cy="260820"/>
          </a:xfrm>
        </p:grpSpPr>
        <p:sp>
          <p:nvSpPr>
            <p:cNvPr id="178" name="Oval 177">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179" name="Rectangle 178">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ST</a:t>
              </a:r>
            </a:p>
          </p:txBody>
        </p:sp>
      </p:grpSp>
      <p:grpSp>
        <p:nvGrpSpPr>
          <p:cNvPr id="180" name="Group 179">
            <a:extLst>
              <a:ext uri="{FF2B5EF4-FFF2-40B4-BE49-F238E27FC236}">
                <a16:creationId xmlns:a16="http://schemas.microsoft.com/office/drawing/2014/main" xmlns="" id="{8BA5AD93-D818-410A-8A60-3A7F35C563E4}"/>
              </a:ext>
            </a:extLst>
          </p:cNvPr>
          <p:cNvGrpSpPr/>
          <p:nvPr/>
        </p:nvGrpSpPr>
        <p:grpSpPr>
          <a:xfrm>
            <a:off x="425367" y="1233490"/>
            <a:ext cx="10982234" cy="5004537"/>
            <a:chOff x="425367" y="1233490"/>
            <a:chExt cx="10982234" cy="5004537"/>
          </a:xfrm>
        </p:grpSpPr>
        <p:cxnSp>
          <p:nvCxnSpPr>
            <p:cNvPr id="181" name="Straight Connector 180">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89" name="Group 188">
            <a:extLst>
              <a:ext uri="{FF2B5EF4-FFF2-40B4-BE49-F238E27FC236}">
                <a16:creationId xmlns:a16="http://schemas.microsoft.com/office/drawing/2014/main" xmlns="" id="{1BEDEA3B-27EF-4A4F-A63F-A696F8D79145}"/>
              </a:ext>
            </a:extLst>
          </p:cNvPr>
          <p:cNvGrpSpPr/>
          <p:nvPr/>
        </p:nvGrpSpPr>
        <p:grpSpPr>
          <a:xfrm>
            <a:off x="403123" y="1025662"/>
            <a:ext cx="10648488" cy="329376"/>
            <a:chOff x="13166521" y="4833050"/>
            <a:chExt cx="10648488" cy="329376"/>
          </a:xfrm>
        </p:grpSpPr>
        <p:sp>
          <p:nvSpPr>
            <p:cNvPr id="194" name="Rectangle 193">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Complete</a:t>
              </a:r>
            </a:p>
          </p:txBody>
        </p:sp>
        <p:sp>
          <p:nvSpPr>
            <p:cNvPr id="199" name="Rectangle 198">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Balanced </a:t>
              </a:r>
            </a:p>
          </p:txBody>
        </p:sp>
        <p:sp>
          <p:nvSpPr>
            <p:cNvPr id="200" name="Rectangle 199">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Complete</a:t>
              </a:r>
            </a:p>
          </p:txBody>
        </p:sp>
        <p:sp>
          <p:nvSpPr>
            <p:cNvPr id="213" name="Rectangle 212">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Partial</a:t>
              </a:r>
            </a:p>
          </p:txBody>
        </p:sp>
        <p:sp>
          <p:nvSpPr>
            <p:cNvPr id="214" name="Rectangle 213">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Partial</a:t>
              </a:r>
            </a:p>
          </p:txBody>
        </p:sp>
      </p:grpSp>
      <p:grpSp>
        <p:nvGrpSpPr>
          <p:cNvPr id="215" name="Group 214">
            <a:extLst>
              <a:ext uri="{FF2B5EF4-FFF2-40B4-BE49-F238E27FC236}">
                <a16:creationId xmlns:a16="http://schemas.microsoft.com/office/drawing/2014/main" xmlns="" id="{C77D83A7-0518-46DF-87BF-DD254DCA70B8}"/>
              </a:ext>
            </a:extLst>
          </p:cNvPr>
          <p:cNvGrpSpPr/>
          <p:nvPr/>
        </p:nvGrpSpPr>
        <p:grpSpPr>
          <a:xfrm rot="5400000">
            <a:off x="8910833" y="3526247"/>
            <a:ext cx="5080815" cy="359545"/>
            <a:chOff x="13166522" y="4833050"/>
            <a:chExt cx="10648487" cy="329377"/>
          </a:xfrm>
        </p:grpSpPr>
        <p:sp>
          <p:nvSpPr>
            <p:cNvPr id="216" name="Rectangle 215">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Complete</a:t>
              </a:r>
            </a:p>
          </p:txBody>
        </p:sp>
        <p:sp>
          <p:nvSpPr>
            <p:cNvPr id="219" name="Rectangle 218">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Balanced </a:t>
              </a:r>
            </a:p>
          </p:txBody>
        </p:sp>
        <p:sp>
          <p:nvSpPr>
            <p:cNvPr id="220" name="Rectangle 219">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Complete</a:t>
              </a:r>
            </a:p>
          </p:txBody>
        </p:sp>
        <p:sp>
          <p:nvSpPr>
            <p:cNvPr id="221" name="Rectangle 220">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Partial</a:t>
              </a:r>
            </a:p>
          </p:txBody>
        </p:sp>
        <p:sp>
          <p:nvSpPr>
            <p:cNvPr id="233" name="Rectangle 232">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ysClr val="windowText" lastClr="000000"/>
                  </a:solidFill>
                </a:rPr>
                <a:t>Partial</a:t>
              </a:r>
            </a:p>
          </p:txBody>
        </p:sp>
      </p:grpSp>
      <p:grpSp>
        <p:nvGrpSpPr>
          <p:cNvPr id="234" name="Group 233">
            <a:extLst>
              <a:ext uri="{FF2B5EF4-FFF2-40B4-BE49-F238E27FC236}">
                <a16:creationId xmlns:a16="http://schemas.microsoft.com/office/drawing/2014/main" xmlns="" id="{22549F37-660D-4CA0-80E9-99F8B4091D59}"/>
              </a:ext>
            </a:extLst>
          </p:cNvPr>
          <p:cNvGrpSpPr/>
          <p:nvPr/>
        </p:nvGrpSpPr>
        <p:grpSpPr>
          <a:xfrm>
            <a:off x="2512582" y="4938474"/>
            <a:ext cx="1075382" cy="516984"/>
            <a:chOff x="8344007" y="5732750"/>
            <a:chExt cx="1075382" cy="516984"/>
          </a:xfrm>
        </p:grpSpPr>
        <p:sp>
          <p:nvSpPr>
            <p:cNvPr id="235" name="Oval 234">
              <a:extLst>
                <a:ext uri="{FF2B5EF4-FFF2-40B4-BE49-F238E27FC236}">
                  <a16:creationId xmlns:a16="http://schemas.microsoft.com/office/drawing/2014/main" xmlns="" id="{41207688-8A6F-4540-A50B-9BFA9051A0E4}"/>
                </a:ext>
              </a:extLst>
            </p:cNvPr>
            <p:cNvSpPr/>
            <p:nvPr/>
          </p:nvSpPr>
          <p:spPr>
            <a:xfrm>
              <a:off x="8731632" y="5732750"/>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6" name="Rectangle 235">
              <a:extLst>
                <a:ext uri="{FF2B5EF4-FFF2-40B4-BE49-F238E27FC236}">
                  <a16:creationId xmlns:a16="http://schemas.microsoft.com/office/drawing/2014/main" xmlns="" id="{84CAA7A0-F1AE-4C4B-B0BC-F2E5FC24DC55}"/>
                </a:ext>
              </a:extLst>
            </p:cNvPr>
            <p:cNvSpPr/>
            <p:nvPr/>
          </p:nvSpPr>
          <p:spPr>
            <a:xfrm>
              <a:off x="8344007" y="5919723"/>
              <a:ext cx="1075382" cy="330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HR As-Is</a:t>
              </a:r>
            </a:p>
          </p:txBody>
        </p:sp>
      </p:grpSp>
      <p:grpSp>
        <p:nvGrpSpPr>
          <p:cNvPr id="237" name="Group 236">
            <a:extLst>
              <a:ext uri="{FF2B5EF4-FFF2-40B4-BE49-F238E27FC236}">
                <a16:creationId xmlns:a16="http://schemas.microsoft.com/office/drawing/2014/main" xmlns="" id="{CD51C9BD-71BB-4D8F-BCB8-8DF644530ADF}"/>
              </a:ext>
            </a:extLst>
          </p:cNvPr>
          <p:cNvGrpSpPr/>
          <p:nvPr/>
        </p:nvGrpSpPr>
        <p:grpSpPr>
          <a:xfrm>
            <a:off x="1422722" y="6603121"/>
            <a:ext cx="1000441" cy="225960"/>
            <a:chOff x="422379" y="5399783"/>
            <a:chExt cx="1309562" cy="260820"/>
          </a:xfrm>
        </p:grpSpPr>
        <p:sp>
          <p:nvSpPr>
            <p:cNvPr id="238" name="Oval 237">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39" name="Rectangle 238">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MT</a:t>
              </a:r>
            </a:p>
          </p:txBody>
        </p:sp>
      </p:grpSp>
      <p:grpSp>
        <p:nvGrpSpPr>
          <p:cNvPr id="240" name="Group 239">
            <a:extLst>
              <a:ext uri="{FF2B5EF4-FFF2-40B4-BE49-F238E27FC236}">
                <a16:creationId xmlns:a16="http://schemas.microsoft.com/office/drawing/2014/main" xmlns="" id="{E48D63B5-89BF-4453-994A-811439A90331}"/>
              </a:ext>
            </a:extLst>
          </p:cNvPr>
          <p:cNvGrpSpPr/>
          <p:nvPr/>
        </p:nvGrpSpPr>
        <p:grpSpPr>
          <a:xfrm>
            <a:off x="1961155" y="6603121"/>
            <a:ext cx="1000441" cy="225960"/>
            <a:chOff x="422379" y="5399783"/>
            <a:chExt cx="1309562" cy="260820"/>
          </a:xfrm>
        </p:grpSpPr>
        <p:sp>
          <p:nvSpPr>
            <p:cNvPr id="241" name="Oval 240">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42" name="Rectangle 241">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LT</a:t>
              </a:r>
            </a:p>
          </p:txBody>
        </p:sp>
      </p:grpSp>
      <p:grpSp>
        <p:nvGrpSpPr>
          <p:cNvPr id="243" name="Group 242">
            <a:extLst>
              <a:ext uri="{FF2B5EF4-FFF2-40B4-BE49-F238E27FC236}">
                <a16:creationId xmlns:a16="http://schemas.microsoft.com/office/drawing/2014/main" xmlns="" id="{DD1E6C2A-7B0C-4E09-9D43-4D21C539A9F8}"/>
              </a:ext>
            </a:extLst>
          </p:cNvPr>
          <p:cNvGrpSpPr/>
          <p:nvPr/>
        </p:nvGrpSpPr>
        <p:grpSpPr>
          <a:xfrm>
            <a:off x="2474532" y="6576041"/>
            <a:ext cx="1365948" cy="225960"/>
            <a:chOff x="422379" y="5378675"/>
            <a:chExt cx="1788005" cy="260820"/>
          </a:xfrm>
        </p:grpSpPr>
        <p:sp>
          <p:nvSpPr>
            <p:cNvPr id="244" name="Oval 243">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45" name="Rectangle 244">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hange Management Focus</a:t>
              </a:r>
            </a:p>
          </p:txBody>
        </p:sp>
      </p:grpSp>
      <p:grpSp>
        <p:nvGrpSpPr>
          <p:cNvPr id="246" name="Group 245">
            <a:extLst>
              <a:ext uri="{FF2B5EF4-FFF2-40B4-BE49-F238E27FC236}">
                <a16:creationId xmlns:a16="http://schemas.microsoft.com/office/drawing/2014/main" xmlns="" id="{2A66E887-AB5A-48D3-A68A-7F2C513932E9}"/>
              </a:ext>
            </a:extLst>
          </p:cNvPr>
          <p:cNvGrpSpPr/>
          <p:nvPr/>
        </p:nvGrpSpPr>
        <p:grpSpPr>
          <a:xfrm>
            <a:off x="3009982" y="4206474"/>
            <a:ext cx="5153888" cy="1669181"/>
            <a:chOff x="7488787" y="4605612"/>
            <a:chExt cx="5153888" cy="1669181"/>
          </a:xfrm>
        </p:grpSpPr>
        <p:grpSp>
          <p:nvGrpSpPr>
            <p:cNvPr id="247" name="Group 246">
              <a:extLst>
                <a:ext uri="{FF2B5EF4-FFF2-40B4-BE49-F238E27FC236}">
                  <a16:creationId xmlns:a16="http://schemas.microsoft.com/office/drawing/2014/main" xmlns="" id="{02B72575-CDA5-4209-88F4-A6C1CAB011C8}"/>
                </a:ext>
              </a:extLst>
            </p:cNvPr>
            <p:cNvGrpSpPr/>
            <p:nvPr/>
          </p:nvGrpSpPr>
          <p:grpSpPr>
            <a:xfrm>
              <a:off x="7488787" y="4605612"/>
              <a:ext cx="5153888" cy="1669181"/>
              <a:chOff x="7519053" y="4146359"/>
              <a:chExt cx="5153888" cy="1669181"/>
            </a:xfrm>
          </p:grpSpPr>
          <p:grpSp>
            <p:nvGrpSpPr>
              <p:cNvPr id="249" name="Group 248">
                <a:extLst>
                  <a:ext uri="{FF2B5EF4-FFF2-40B4-BE49-F238E27FC236}">
                    <a16:creationId xmlns:a16="http://schemas.microsoft.com/office/drawing/2014/main" xmlns="" id="{A272F952-FF7A-464A-A7D7-A888133A35CC}"/>
                  </a:ext>
                </a:extLst>
              </p:cNvPr>
              <p:cNvGrpSpPr/>
              <p:nvPr/>
            </p:nvGrpSpPr>
            <p:grpSpPr>
              <a:xfrm>
                <a:off x="7519053" y="4146359"/>
                <a:ext cx="1202670" cy="366759"/>
                <a:chOff x="7059484" y="5283767"/>
                <a:chExt cx="1202670" cy="366759"/>
              </a:xfrm>
            </p:grpSpPr>
            <p:sp>
              <p:nvSpPr>
                <p:cNvPr id="251" name="Oval 250">
                  <a:extLst>
                    <a:ext uri="{FF2B5EF4-FFF2-40B4-BE49-F238E27FC236}">
                      <a16:creationId xmlns:a16="http://schemas.microsoft.com/office/drawing/2014/main" xmlns="" id="{66CC3203-8C2E-453B-8E59-5EF97DB3803F}"/>
                    </a:ext>
                  </a:extLst>
                </p:cNvPr>
                <p:cNvSpPr/>
                <p:nvPr/>
              </p:nvSpPr>
              <p:spPr>
                <a:xfrm>
                  <a:off x="8046154" y="5434526"/>
                  <a:ext cx="216000" cy="216000"/>
                </a:xfrm>
                <a:prstGeom prst="ellipse">
                  <a:avLst/>
                </a:prstGeom>
                <a:solidFill>
                  <a:srgbClr val="FF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2" name="Rectangle 251">
                  <a:extLst>
                    <a:ext uri="{FF2B5EF4-FFF2-40B4-BE49-F238E27FC236}">
                      <a16:creationId xmlns:a16="http://schemas.microsoft.com/office/drawing/2014/main" xmlns="" id="{F53D85D2-53DA-4830-B8DC-060AB986492C}"/>
                    </a:ext>
                  </a:extLst>
                </p:cNvPr>
                <p:cNvSpPr/>
                <p:nvPr/>
              </p:nvSpPr>
              <p:spPr>
                <a:xfrm>
                  <a:off x="7059484" y="5283767"/>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HR </a:t>
                  </a:r>
                </a:p>
                <a:p>
                  <a:r>
                    <a:rPr lang="en-ZA" sz="1200">
                      <a:solidFill>
                        <a:sysClr val="windowText" lastClr="000000"/>
                      </a:solidFill>
                    </a:rPr>
                    <a:t>(To-Be) (MT)</a:t>
                  </a:r>
                </a:p>
              </p:txBody>
            </p:sp>
          </p:grpSp>
          <p:sp>
            <p:nvSpPr>
              <p:cNvPr id="250" name="Rectangle 249">
                <a:extLst>
                  <a:ext uri="{FF2B5EF4-FFF2-40B4-BE49-F238E27FC236}">
                    <a16:creationId xmlns:a16="http://schemas.microsoft.com/office/drawing/2014/main" xmlns="" id="{432398A1-DAC2-4AB8-94B2-9A4F1616A1AF}"/>
                  </a:ext>
                </a:extLst>
              </p:cNvPr>
              <p:cNvSpPr/>
              <p:nvPr/>
            </p:nvSpPr>
            <p:spPr>
              <a:xfrm>
                <a:off x="7983471" y="4628467"/>
                <a:ext cx="4689470" cy="1187073"/>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Aim toward balanced centralisation of HR function utilising delegation of authority where appropriate downstream. This will allow  HR staff regionally to remain focused on core function with  operational control downstream combined with the appropriate technology and other support functions. Partnerships with regard to training, mentoring and coaching should be identified and leveraged for professionalisation of staff. </a:t>
                </a:r>
              </a:p>
            </p:txBody>
          </p:sp>
        </p:grpSp>
        <p:sp>
          <p:nvSpPr>
            <p:cNvPr id="248" name="Oval 247">
              <a:extLst>
                <a:ext uri="{FF2B5EF4-FFF2-40B4-BE49-F238E27FC236}">
                  <a16:creationId xmlns:a16="http://schemas.microsoft.com/office/drawing/2014/main" xmlns="" id="{7EEDE1B7-B042-4EA9-9BE2-7735A3D00BE6}"/>
                </a:ext>
              </a:extLst>
            </p:cNvPr>
            <p:cNvSpPr/>
            <p:nvPr/>
          </p:nvSpPr>
          <p:spPr>
            <a:xfrm>
              <a:off x="8719664" y="4759712"/>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253" name="Group 252">
            <a:extLst>
              <a:ext uri="{FF2B5EF4-FFF2-40B4-BE49-F238E27FC236}">
                <a16:creationId xmlns:a16="http://schemas.microsoft.com/office/drawing/2014/main" xmlns="" id="{A93E01DA-512C-411C-8998-9BC32C9BD7C5}"/>
              </a:ext>
            </a:extLst>
          </p:cNvPr>
          <p:cNvGrpSpPr/>
          <p:nvPr/>
        </p:nvGrpSpPr>
        <p:grpSpPr>
          <a:xfrm>
            <a:off x="3649950" y="2131984"/>
            <a:ext cx="3399006" cy="1808663"/>
            <a:chOff x="968103" y="3944961"/>
            <a:chExt cx="3399006" cy="2161744"/>
          </a:xfrm>
        </p:grpSpPr>
        <p:grpSp>
          <p:nvGrpSpPr>
            <p:cNvPr id="254" name="Group 253">
              <a:extLst>
                <a:ext uri="{FF2B5EF4-FFF2-40B4-BE49-F238E27FC236}">
                  <a16:creationId xmlns:a16="http://schemas.microsoft.com/office/drawing/2014/main" xmlns="" id="{E6ECE21E-1B60-4AA6-9311-0A50747A33A2}"/>
                </a:ext>
              </a:extLst>
            </p:cNvPr>
            <p:cNvGrpSpPr/>
            <p:nvPr/>
          </p:nvGrpSpPr>
          <p:grpSpPr>
            <a:xfrm>
              <a:off x="968103" y="3944961"/>
              <a:ext cx="3399006" cy="2157507"/>
              <a:chOff x="6564636" y="2814864"/>
              <a:chExt cx="3399006" cy="2157507"/>
            </a:xfrm>
          </p:grpSpPr>
          <p:grpSp>
            <p:nvGrpSpPr>
              <p:cNvPr id="256" name="Group 255">
                <a:extLst>
                  <a:ext uri="{FF2B5EF4-FFF2-40B4-BE49-F238E27FC236}">
                    <a16:creationId xmlns:a16="http://schemas.microsoft.com/office/drawing/2014/main" xmlns="" id="{DEDD2493-8BB4-4A86-B6ED-6AF1ABE2EC10}"/>
                  </a:ext>
                </a:extLst>
              </p:cNvPr>
              <p:cNvGrpSpPr/>
              <p:nvPr/>
            </p:nvGrpSpPr>
            <p:grpSpPr>
              <a:xfrm>
                <a:off x="6564636" y="2814864"/>
                <a:ext cx="3399006" cy="2157507"/>
                <a:chOff x="6594902" y="2355611"/>
                <a:chExt cx="3399006" cy="2157507"/>
              </a:xfrm>
            </p:grpSpPr>
            <p:grpSp>
              <p:nvGrpSpPr>
                <p:cNvPr id="258" name="Group 257">
                  <a:extLst>
                    <a:ext uri="{FF2B5EF4-FFF2-40B4-BE49-F238E27FC236}">
                      <a16:creationId xmlns:a16="http://schemas.microsoft.com/office/drawing/2014/main" xmlns="" id="{18F10B55-6AAB-4A75-8459-8CC0CCF7B270}"/>
                    </a:ext>
                  </a:extLst>
                </p:cNvPr>
                <p:cNvGrpSpPr/>
                <p:nvPr/>
              </p:nvGrpSpPr>
              <p:grpSpPr>
                <a:xfrm>
                  <a:off x="7426202" y="4120520"/>
                  <a:ext cx="1295521" cy="392598"/>
                  <a:chOff x="6966633" y="5257928"/>
                  <a:chExt cx="1295521" cy="392598"/>
                </a:xfrm>
              </p:grpSpPr>
              <p:sp>
                <p:nvSpPr>
                  <p:cNvPr id="260" name="Oval 259">
                    <a:extLst>
                      <a:ext uri="{FF2B5EF4-FFF2-40B4-BE49-F238E27FC236}">
                        <a16:creationId xmlns:a16="http://schemas.microsoft.com/office/drawing/2014/main" xmlns="" id="{9CC53A86-033B-4F45-AB0A-348721A46C8F}"/>
                      </a:ext>
                    </a:extLst>
                  </p:cNvPr>
                  <p:cNvSpPr/>
                  <p:nvPr/>
                </p:nvSpPr>
                <p:spPr>
                  <a:xfrm>
                    <a:off x="8046154" y="5434526"/>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1" name="Rectangle 260">
                    <a:extLst>
                      <a:ext uri="{FF2B5EF4-FFF2-40B4-BE49-F238E27FC236}">
                        <a16:creationId xmlns:a16="http://schemas.microsoft.com/office/drawing/2014/main" xmlns="" id="{E30FEEAB-4A07-401F-BF29-53EC4BF0ADF4}"/>
                      </a:ext>
                    </a:extLst>
                  </p:cNvPr>
                  <p:cNvSpPr/>
                  <p:nvPr/>
                </p:nvSpPr>
                <p:spPr>
                  <a:xfrm>
                    <a:off x="6966633" y="5257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HR </a:t>
                    </a:r>
                  </a:p>
                  <a:p>
                    <a:r>
                      <a:rPr lang="en-ZA" sz="1200">
                        <a:solidFill>
                          <a:sysClr val="windowText" lastClr="000000"/>
                        </a:solidFill>
                      </a:rPr>
                      <a:t>(To-Be) </a:t>
                    </a:r>
                  </a:p>
                  <a:p>
                    <a:r>
                      <a:rPr lang="en-ZA" sz="1200">
                        <a:solidFill>
                          <a:sysClr val="windowText" lastClr="000000"/>
                        </a:solidFill>
                      </a:rPr>
                      <a:t>(MT- LT)</a:t>
                    </a:r>
                  </a:p>
                </p:txBody>
              </p:sp>
            </p:grpSp>
            <p:sp>
              <p:nvSpPr>
                <p:cNvPr id="259" name="Rectangle 258">
                  <a:extLst>
                    <a:ext uri="{FF2B5EF4-FFF2-40B4-BE49-F238E27FC236}">
                      <a16:creationId xmlns:a16="http://schemas.microsoft.com/office/drawing/2014/main" xmlns="" id="{01A45D97-7C52-4170-A672-C850CED14BB0}"/>
                    </a:ext>
                  </a:extLst>
                </p:cNvPr>
                <p:cNvSpPr/>
                <p:nvPr/>
              </p:nvSpPr>
              <p:spPr>
                <a:xfrm>
                  <a:off x="6594902" y="2355611"/>
                  <a:ext cx="3399006" cy="1555249"/>
                </a:xfrm>
                <a:prstGeom prst="rect">
                  <a:avLst/>
                </a:prstGeom>
                <a:solidFill>
                  <a:schemeClr val="bg1"/>
                </a:solidFill>
                <a:ln>
                  <a:gradFill flip="none" rotWithShape="1">
                    <a:gsLst>
                      <a:gs pos="0">
                        <a:schemeClr val="accent1"/>
                      </a:gs>
                      <a:gs pos="100000">
                        <a:srgbClr val="FFC0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Ultimately  regions would  take more ownership of administration and HR functions resulting in less bureaucracy and more agility, this depends on the professionalisation of staff within each function. By the MT-LT partnerships with regard to training, mentoring and coaching SETAs, international training courses would be fully established.</a:t>
                  </a:r>
                </a:p>
                <a:p>
                  <a:pPr algn="ctr"/>
                  <a:endParaRPr lang="en-ZA" sz="1000">
                    <a:solidFill>
                      <a:schemeClr val="tx1"/>
                    </a:solidFill>
                  </a:endParaRPr>
                </a:p>
              </p:txBody>
            </p:sp>
          </p:grpSp>
          <p:sp>
            <p:nvSpPr>
              <p:cNvPr id="257" name="Oval 256">
                <a:extLst>
                  <a:ext uri="{FF2B5EF4-FFF2-40B4-BE49-F238E27FC236}">
                    <a16:creationId xmlns:a16="http://schemas.microsoft.com/office/drawing/2014/main" xmlns="" id="{6D15ABB4-FF4A-4E1E-AF46-0EBE8BA6BF07}"/>
                  </a:ext>
                </a:extLst>
              </p:cNvPr>
              <p:cNvSpPr/>
              <p:nvPr/>
            </p:nvSpPr>
            <p:spPr>
              <a:xfrm>
                <a:off x="8719664" y="4748137"/>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sp>
          <p:nvSpPr>
            <p:cNvPr id="255" name="Oval 254">
              <a:extLst>
                <a:ext uri="{FF2B5EF4-FFF2-40B4-BE49-F238E27FC236}">
                  <a16:creationId xmlns:a16="http://schemas.microsoft.com/office/drawing/2014/main" xmlns="" id="{A7640E76-0D1B-4447-82ED-AFAA4CB14D9D}"/>
                </a:ext>
              </a:extLst>
            </p:cNvPr>
            <p:cNvSpPr/>
            <p:nvPr/>
          </p:nvSpPr>
          <p:spPr>
            <a:xfrm>
              <a:off x="2749331" y="5890705"/>
              <a:ext cx="216000" cy="21600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sp>
        <p:nvSpPr>
          <p:cNvPr id="262" name="TextBox 261">
            <a:extLst>
              <a:ext uri="{FF2B5EF4-FFF2-40B4-BE49-F238E27FC236}">
                <a16:creationId xmlns:a16="http://schemas.microsoft.com/office/drawing/2014/main" xmlns="" id="{ABEAF419-7509-4B04-986A-E6A46BFBC19E}"/>
              </a:ext>
            </a:extLst>
          </p:cNvPr>
          <p:cNvSpPr txBox="1"/>
          <p:nvPr/>
        </p:nvSpPr>
        <p:spPr>
          <a:xfrm>
            <a:off x="6184378" y="1276673"/>
            <a:ext cx="5198377" cy="350238"/>
          </a:xfrm>
          <a:prstGeom prst="rect">
            <a:avLst/>
          </a:prstGeom>
          <a:solidFill>
            <a:schemeClr val="bg1">
              <a:lumMod val="95000"/>
            </a:schemeClr>
          </a:solidFill>
        </p:spPr>
        <p:txBody>
          <a:bodyPr wrap="square" rtlCol="0">
            <a:spAutoFit/>
          </a:bodyPr>
          <a:lstStyle/>
          <a:p>
            <a:pPr algn="ctr"/>
            <a:r>
              <a:rPr lang="en-ZA" sz="1600" b="1" u="sng">
                <a:solidFill>
                  <a:sysClr val="windowText" lastClr="000000"/>
                </a:solidFill>
              </a:rPr>
              <a:t>HR: BALANCE OUTSOURCE - BALANCE CENTRALISED</a:t>
            </a:r>
          </a:p>
        </p:txBody>
      </p:sp>
      <p:sp>
        <p:nvSpPr>
          <p:cNvPr id="5" name="TextBox 4"/>
          <p:cNvSpPr txBox="1"/>
          <p:nvPr/>
        </p:nvSpPr>
        <p:spPr>
          <a:xfrm>
            <a:off x="209714" y="10145"/>
            <a:ext cx="11982286" cy="1154162"/>
          </a:xfrm>
          <a:prstGeom prst="rect">
            <a:avLst/>
          </a:prstGeom>
          <a:noFill/>
        </p:spPr>
        <p:txBody>
          <a:bodyPr wrap="square" rtlCol="0">
            <a:spAutoFit/>
          </a:bodyPr>
          <a:lstStyle/>
          <a:p>
            <a:pPr lvl="0"/>
            <a:r>
              <a:rPr lang="en-ZA" sz="2300" b="1" dirty="0">
                <a:solidFill>
                  <a:srgbClr val="000000"/>
                </a:solidFill>
                <a:latin typeface="Georgia"/>
              </a:rPr>
              <a:t>HR should be more balanced in terms of centralisation and allow for greater outsourcing on training, coaching and mentoring</a:t>
            </a:r>
            <a:endParaRPr lang="en-ZA" sz="2300" b="1" dirty="0">
              <a:solidFill>
                <a:srgbClr val="000000"/>
              </a:solidFill>
              <a:latin typeface="Georgia"/>
              <a:ea typeface="+mj-ea"/>
              <a:cs typeface="+mj-cs"/>
            </a:endParaRPr>
          </a:p>
          <a:p>
            <a:endParaRPr lang="en-ZA" sz="2300" dirty="0"/>
          </a:p>
        </p:txBody>
      </p:sp>
    </p:spTree>
    <p:extLst>
      <p:ext uri="{BB962C8B-B14F-4D97-AF65-F5344CB8AC3E}">
        <p14:creationId xmlns:p14="http://schemas.microsoft.com/office/powerpoint/2010/main" val="1929340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3200" b="1" dirty="0" smtClean="0">
                <a:solidFill>
                  <a:srgbClr val="000000"/>
                </a:solidFill>
                <a:latin typeface="Georgia"/>
                <a:sym typeface="Calibri"/>
              </a:rPr>
              <a:t>Modes of service delivery for HR</a:t>
            </a:r>
            <a:endParaRPr lang="en-US" sz="3200" b="1" dirty="0">
              <a:solidFill>
                <a:srgbClr val="000000"/>
              </a:solidFill>
              <a:latin typeface="Georgia"/>
            </a:endParaRPr>
          </a:p>
        </p:txBody>
      </p:sp>
      <p:sp>
        <p:nvSpPr>
          <p:cNvPr id="2" name="Rectangle 1"/>
          <p:cNvSpPr/>
          <p:nvPr/>
        </p:nvSpPr>
        <p:spPr>
          <a:xfrm>
            <a:off x="404191" y="2467094"/>
            <a:ext cx="2385137" cy="2308324"/>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HR would require more balance of partnerships for training and skilling as well as decision making resulting in changes in the structure and </a:t>
            </a:r>
            <a:r>
              <a:rPr lang="en-US" sz="1600" b="1" dirty="0" err="1">
                <a:solidFill>
                  <a:sysClr val="windowText" lastClr="000000"/>
                </a:solidFill>
                <a:latin typeface="Lato"/>
              </a:rPr>
              <a:t>professionalisation</a:t>
            </a:r>
            <a:r>
              <a:rPr lang="en-US" sz="1600" b="1" dirty="0">
                <a:solidFill>
                  <a:sysClr val="windowText" lastClr="000000"/>
                </a:solidFill>
                <a:latin typeface="Lato"/>
              </a:rPr>
              <a:t> of core DCS functions</a:t>
            </a:r>
            <a:endParaRPr lang="en-US" sz="1600" b="1" dirty="0">
              <a:solidFill>
                <a:sysClr val="windowText" lastClr="000000"/>
              </a:solidFill>
              <a:latin typeface="Lato"/>
            </a:endParaRPr>
          </a:p>
        </p:txBody>
      </p:sp>
      <p:sp>
        <p:nvSpPr>
          <p:cNvPr id="7" name="Rectangle 6">
            <a:extLst>
              <a:ext uri="{FF2B5EF4-FFF2-40B4-BE49-F238E27FC236}">
                <a16:creationId xmlns="" xmlns:a16="http://schemas.microsoft.com/office/drawing/2014/main" id="{265594CA-0F1B-4C3D-9FBC-EA09A76F868D}"/>
              </a:ext>
            </a:extLst>
          </p:cNvPr>
          <p:cNvSpPr/>
          <p:nvPr/>
        </p:nvSpPr>
        <p:spPr>
          <a:xfrm>
            <a:off x="3110591" y="1320253"/>
            <a:ext cx="3465365" cy="4988080"/>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Aft>
                <a:spcPts val="600"/>
              </a:spcAft>
              <a:buFont typeface="Arial" panose="020B0604020202020204" pitchFamily="34" charset="0"/>
              <a:buChar char="•"/>
            </a:pPr>
            <a:r>
              <a:rPr lang="en-ZA" sz="1400" dirty="0">
                <a:solidFill>
                  <a:prstClr val="black"/>
                </a:solidFill>
                <a:highlight>
                  <a:srgbClr val="FFFFFF"/>
                </a:highlight>
                <a:latin typeface="Lato"/>
              </a:rPr>
              <a:t>Aim toward balanced centralisation of HR function utilising delegation of authority where appropriate downstream. This will allow:</a:t>
            </a:r>
          </a:p>
          <a:p>
            <a:pPr marL="628650" lvl="1" indent="-171450" defTabSz="457200">
              <a:spcAft>
                <a:spcPts val="600"/>
              </a:spcAft>
              <a:buFont typeface="Arial" panose="020B0604020202020204" pitchFamily="34" charset="0"/>
              <a:buChar char="•"/>
            </a:pPr>
            <a:r>
              <a:rPr lang="en-ZA" sz="1400" dirty="0">
                <a:solidFill>
                  <a:prstClr val="black"/>
                </a:solidFill>
                <a:highlight>
                  <a:srgbClr val="FFFFFF"/>
                </a:highlight>
                <a:latin typeface="Lato"/>
              </a:rPr>
              <a:t>HR staff regionally to remain focused on core function</a:t>
            </a:r>
          </a:p>
          <a:p>
            <a:pPr marL="628650" lvl="1" indent="-171450" defTabSz="457200">
              <a:spcAft>
                <a:spcPts val="600"/>
              </a:spcAft>
              <a:buFont typeface="Arial" panose="020B0604020202020204" pitchFamily="34" charset="0"/>
              <a:buChar char="•"/>
            </a:pPr>
            <a:r>
              <a:rPr lang="en-ZA" sz="1400" dirty="0">
                <a:solidFill>
                  <a:prstClr val="black"/>
                </a:solidFill>
                <a:highlight>
                  <a:srgbClr val="FFFFFF"/>
                </a:highlight>
                <a:latin typeface="Lato"/>
              </a:rPr>
              <a:t>further operational control downstream combined with the appropriate technology, delegations and governance</a:t>
            </a:r>
          </a:p>
          <a:p>
            <a:pPr marL="171450" lvl="0" indent="-171450" defTabSz="457200">
              <a:spcAft>
                <a:spcPts val="600"/>
              </a:spcAft>
              <a:buFont typeface="Arial" panose="020B0604020202020204" pitchFamily="34" charset="0"/>
              <a:buChar char="•"/>
            </a:pPr>
            <a:r>
              <a:rPr lang="en-ZA" sz="1400" dirty="0">
                <a:solidFill>
                  <a:prstClr val="black"/>
                </a:solidFill>
                <a:highlight>
                  <a:srgbClr val="FFFFFF"/>
                </a:highlight>
                <a:latin typeface="Lato"/>
              </a:rPr>
              <a:t>Regions would  take more ownership of administration and HR functions resulting in less </a:t>
            </a:r>
            <a:r>
              <a:rPr lang="en-ZA" sz="1400" dirty="0">
                <a:solidFill>
                  <a:prstClr val="black"/>
                </a:solidFill>
                <a:latin typeface="Lato"/>
              </a:rPr>
              <a:t>bureaucracy</a:t>
            </a:r>
            <a:r>
              <a:rPr lang="en-ZA" sz="1400" dirty="0">
                <a:solidFill>
                  <a:prstClr val="black"/>
                </a:solidFill>
                <a:highlight>
                  <a:srgbClr val="FFFFFF"/>
                </a:highlight>
                <a:latin typeface="Lato"/>
              </a:rPr>
              <a:t> and more agility</a:t>
            </a:r>
          </a:p>
          <a:p>
            <a:pPr marL="171450" lvl="0" indent="-171450" defTabSz="457200">
              <a:spcAft>
                <a:spcPts val="600"/>
              </a:spcAft>
              <a:buFont typeface="Arial" panose="020B0604020202020204" pitchFamily="34" charset="0"/>
              <a:buChar char="•"/>
            </a:pPr>
            <a:r>
              <a:rPr lang="en-ZA" sz="1400" dirty="0">
                <a:solidFill>
                  <a:prstClr val="black"/>
                </a:solidFill>
                <a:highlight>
                  <a:srgbClr val="FFFFFF"/>
                </a:highlight>
                <a:latin typeface="Lato"/>
              </a:rPr>
              <a:t>Opportunity to leverage partnerships with regard to training, mentoring and coaching </a:t>
            </a:r>
            <a:r>
              <a:rPr lang="en-GB" sz="1400" dirty="0">
                <a:solidFill>
                  <a:prstClr val="black"/>
                </a:solidFill>
                <a:highlight>
                  <a:srgbClr val="FFFFFF"/>
                </a:highlight>
                <a:latin typeface="Lato"/>
              </a:rPr>
              <a:t>SETAs, international training courses</a:t>
            </a:r>
          </a:p>
          <a:p>
            <a:pPr marL="171450" lvl="0" indent="-171450" defTabSz="457200">
              <a:spcBef>
                <a:spcPts val="600"/>
              </a:spcBef>
              <a:spcAft>
                <a:spcPts val="600"/>
              </a:spcAft>
              <a:buFont typeface="Arial" panose="020B0604020202020204" pitchFamily="34" charset="0"/>
              <a:buChar char="•"/>
              <a:defRPr/>
            </a:pPr>
            <a:endParaRPr lang="en-US" sz="1100" kern="0" dirty="0">
              <a:solidFill>
                <a:prstClr val="black"/>
              </a:solidFill>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 xmlns:a16="http://schemas.microsoft.com/office/drawing/2014/main" id="{265594CA-0F1B-4C3D-9FBC-EA09A76F868D}"/>
              </a:ext>
            </a:extLst>
          </p:cNvPr>
          <p:cNvSpPr/>
          <p:nvPr/>
        </p:nvSpPr>
        <p:spPr>
          <a:xfrm>
            <a:off x="6653048" y="1313523"/>
            <a:ext cx="5283848" cy="4994810"/>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790220" y="806851"/>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16" name="Rectangle 15">
            <a:extLst>
              <a:ext uri="{FF2B5EF4-FFF2-40B4-BE49-F238E27FC236}">
                <a16:creationId xmlns:a16="http://schemas.microsoft.com/office/drawing/2014/main" xmlns="" id="{27E3CA0A-70BA-40BB-B250-A98C7FF32196}"/>
              </a:ext>
            </a:extLst>
          </p:cNvPr>
          <p:cNvSpPr/>
          <p:nvPr/>
        </p:nvSpPr>
        <p:spPr>
          <a:xfrm rot="16200000">
            <a:off x="69635" y="1665264"/>
            <a:ext cx="996491" cy="327379"/>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smtClean="0">
                <a:solidFill>
                  <a:schemeClr val="bg1"/>
                </a:solidFill>
              </a:rPr>
              <a:t>HR</a:t>
            </a:r>
            <a:endParaRPr lang="en-ZA" sz="800" b="1" dirty="0">
              <a:solidFill>
                <a:schemeClr val="bg1"/>
              </a:solidFill>
            </a:endParaRPr>
          </a:p>
        </p:txBody>
      </p:sp>
      <p:pic>
        <p:nvPicPr>
          <p:cNvPr id="17" name="Picture 16">
            <a:extLst>
              <a:ext uri="{FF2B5EF4-FFF2-40B4-BE49-F238E27FC236}">
                <a16:creationId xmlns:a16="http://schemas.microsoft.com/office/drawing/2014/main" xmlns="" id="{51ACA860-6E7F-432F-8006-4A3C712AB94D}"/>
              </a:ext>
            </a:extLst>
          </p:cNvPr>
          <p:cNvPicPr>
            <a:picLocks noChangeAspect="1"/>
          </p:cNvPicPr>
          <p:nvPr/>
        </p:nvPicPr>
        <p:blipFill>
          <a:blip r:embed="rId3"/>
          <a:stretch>
            <a:fillRect/>
          </a:stretch>
        </p:blipFill>
        <p:spPr>
          <a:xfrm>
            <a:off x="790220" y="1330830"/>
            <a:ext cx="2148195" cy="1008000"/>
          </a:xfrm>
          <a:prstGeom prst="rect">
            <a:avLst/>
          </a:prstGeom>
        </p:spPr>
      </p:pic>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graphicFrame>
        <p:nvGraphicFramePr>
          <p:cNvPr id="3" name="Table 2"/>
          <p:cNvGraphicFramePr>
            <a:graphicFrameLocks noGrp="1"/>
          </p:cNvGraphicFramePr>
          <p:nvPr>
            <p:extLst>
              <p:ext uri="{D42A27DB-BD31-4B8C-83A1-F6EECF244321}">
                <p14:modId xmlns:p14="http://schemas.microsoft.com/office/powerpoint/2010/main" val="3672169770"/>
              </p:ext>
            </p:extLst>
          </p:nvPr>
        </p:nvGraphicFramePr>
        <p:xfrm>
          <a:off x="492754" y="1204311"/>
          <a:ext cx="11260881" cy="3106009"/>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pPr marL="0" lvl="0" algn="l" defTabSz="914400" rtl="0" eaLnBrk="1" latinLnBrk="0" hangingPunct="1">
                        <a:spcAft>
                          <a:spcPts val="300"/>
                        </a:spcAft>
                      </a:pPr>
                      <a:r>
                        <a:rPr lang="en-US" sz="1800" kern="1200" dirty="0" smtClean="0">
                          <a:solidFill>
                            <a:schemeClr val="bg1"/>
                          </a:solidFill>
                          <a:latin typeface="+mn-lt"/>
                          <a:ea typeface="+mn-ea"/>
                          <a:cs typeface="+mn-cs"/>
                        </a:rPr>
                        <a:t>High performing ethical </a:t>
                      </a:r>
                      <a:r>
                        <a:rPr lang="en-US" sz="1800" kern="1200" dirty="0" err="1" smtClean="0">
                          <a:solidFill>
                            <a:schemeClr val="bg1"/>
                          </a:solidFill>
                          <a:latin typeface="+mn-lt"/>
                          <a:ea typeface="+mn-ea"/>
                          <a:cs typeface="+mn-cs"/>
                        </a:rPr>
                        <a:t>organisation</a:t>
                      </a:r>
                      <a:r>
                        <a:rPr lang="en-US" sz="1800" kern="1200" dirty="0" smtClean="0">
                          <a:solidFill>
                            <a:schemeClr val="bg1"/>
                          </a:solidFill>
                          <a:latin typeface="+mn-lt"/>
                          <a:ea typeface="+mn-ea"/>
                          <a:cs typeface="+mn-cs"/>
                        </a:rPr>
                        <a:t> </a:t>
                      </a:r>
                      <a:endParaRPr lang="en-US" sz="1800" kern="1200" dirty="0">
                        <a:solidFill>
                          <a:schemeClr val="bg1"/>
                        </a:solidFill>
                        <a:latin typeface="+mn-lt"/>
                        <a:ea typeface="+mn-ea"/>
                        <a:cs typeface="+mn-cs"/>
                      </a:endParaRPr>
                    </a:p>
                  </a:txBody>
                  <a:tcPr>
                    <a:solidFill>
                      <a:srgbClr val="548235"/>
                    </a:solidFill>
                  </a:tcPr>
                </a:tc>
                <a:tc>
                  <a:txBody>
                    <a:bodyPr/>
                    <a:lstStyle/>
                    <a:p>
                      <a:pPr marL="0" lvl="0" algn="l" defTabSz="914400" rtl="0" eaLnBrk="1" latinLnBrk="0" hangingPunct="1"/>
                      <a:r>
                        <a:rPr lang="en-ZA" sz="1800" kern="1200" dirty="0" smtClean="0">
                          <a:solidFill>
                            <a:schemeClr val="bg1"/>
                          </a:solidFill>
                          <a:latin typeface="+mn-lt"/>
                          <a:ea typeface="+mn-ea"/>
                          <a:cs typeface="+mn-cs"/>
                        </a:rPr>
                        <a:t>Inability of the department to have a structure that is responsive to the organisation.</a:t>
                      </a:r>
                      <a:endParaRPr lang="en-ZA" sz="1800" kern="1200" dirty="0">
                        <a:solidFill>
                          <a:schemeClr val="bg1"/>
                        </a:solidFill>
                        <a:latin typeface="+mn-lt"/>
                        <a:ea typeface="+mn-ea"/>
                        <a:cs typeface="+mn-cs"/>
                      </a:endParaRPr>
                    </a:p>
                  </a:txBody>
                  <a:tcPr>
                    <a:solidFill>
                      <a:srgbClr val="548235"/>
                    </a:solidFill>
                  </a:tcPr>
                </a:tc>
                <a:tc>
                  <a:txBody>
                    <a:bodyPr/>
                    <a:lstStyle/>
                    <a:p>
                      <a:pPr lvl="0"/>
                      <a:r>
                        <a:rPr lang="en-US" sz="1800" kern="1200" dirty="0" smtClean="0">
                          <a:solidFill>
                            <a:schemeClr val="bg1"/>
                          </a:solidFill>
                          <a:latin typeface="+mn-lt"/>
                          <a:ea typeface="+mn-ea"/>
                          <a:cs typeface="+mn-cs"/>
                        </a:rPr>
                        <a:t>Alignment of structure in accordance to operational needs.</a:t>
                      </a:r>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r>
                        <a:rPr lang="en-ZA" sz="1800" kern="1200" dirty="0" smtClean="0">
                          <a:solidFill>
                            <a:schemeClr val="bg1"/>
                          </a:solidFill>
                          <a:latin typeface="+mn-lt"/>
                          <a:ea typeface="+mn-ea"/>
                          <a:cs typeface="+mn-cs"/>
                        </a:rPr>
                        <a:t>High staff turnover (staff shortage).</a:t>
                      </a:r>
                      <a:endParaRPr lang="en-ZA" sz="1800" kern="1200" dirty="0">
                        <a:solidFill>
                          <a:schemeClr val="bg1"/>
                        </a:solidFill>
                        <a:latin typeface="+mn-lt"/>
                        <a:ea typeface="+mn-ea"/>
                        <a:cs typeface="+mn-cs"/>
                      </a:endParaRPr>
                    </a:p>
                  </a:txBody>
                  <a:tcPr>
                    <a:solidFill>
                      <a:srgbClr val="548235"/>
                    </a:solidFill>
                  </a:tcPr>
                </a:tc>
                <a:tc>
                  <a:txBody>
                    <a:bodyPr/>
                    <a:lstStyle/>
                    <a:p>
                      <a:pPr lvl="0"/>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lvl="0"/>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626969">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840050" y="918271"/>
            <a:ext cx="3914641" cy="14649"/>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7087546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840050" y="918271"/>
            <a:ext cx="3914641" cy="14649"/>
          </a:xfrm>
          <a:prstGeom prst="line">
            <a:avLst/>
          </a:prstGeom>
          <a:noFill/>
          <a:ln w="6350" cap="flat" cmpd="sng" algn="ctr">
            <a:solidFill>
              <a:srgbClr val="FFFFFF"/>
            </a:solidFill>
            <a:prstDash val="solid"/>
            <a:miter lim="800000"/>
          </a:ln>
          <a:effectLst/>
        </p:spPr>
      </p:cxnSp>
      <p:graphicFrame>
        <p:nvGraphicFramePr>
          <p:cNvPr id="8" name="Table 7"/>
          <p:cNvGraphicFramePr>
            <a:graphicFrameLocks noGrp="1"/>
          </p:cNvGraphicFramePr>
          <p:nvPr>
            <p:extLst>
              <p:ext uri="{D42A27DB-BD31-4B8C-83A1-F6EECF244321}">
                <p14:modId xmlns:p14="http://schemas.microsoft.com/office/powerpoint/2010/main" val="3382823027"/>
              </p:ext>
            </p:extLst>
          </p:nvPr>
        </p:nvGraphicFramePr>
        <p:xfrm>
          <a:off x="492754" y="1232661"/>
          <a:ext cx="11260881" cy="2240004"/>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endParaRPr lang="en-US" dirty="0" smtClean="0">
                        <a:solidFill>
                          <a:schemeClr val="bg1"/>
                        </a:solidFill>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mar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09604">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Tree>
    <p:extLst>
      <p:ext uri="{BB962C8B-B14F-4D97-AF65-F5344CB8AC3E}">
        <p14:creationId xmlns:p14="http://schemas.microsoft.com/office/powerpoint/2010/main" val="16095906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nagement of dependencies</a:t>
            </a:r>
            <a:endParaRPr sz="2800" b="1" dirty="0">
              <a:solidFill>
                <a:srgbClr val="000000"/>
              </a:solidFill>
              <a:latin typeface="Georgia"/>
            </a:endParaRPr>
          </a:p>
        </p:txBody>
      </p:sp>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840050" y="918271"/>
            <a:ext cx="3914641" cy="14649"/>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37111880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3600" b="1" dirty="0">
                <a:solidFill>
                  <a:srgbClr val="000000"/>
                </a:solidFill>
                <a:latin typeface="Georgia"/>
                <a:sym typeface="Calibri"/>
              </a:rPr>
              <a:t>Conclusion</a:t>
            </a:r>
            <a:endParaRPr sz="2800" b="1" dirty="0">
              <a:solidFill>
                <a:srgbClr val="000000"/>
              </a:solidFill>
              <a:latin typeface="Georgia"/>
            </a:endParaRPr>
          </a:p>
        </p:txBody>
      </p:sp>
      <p:sp>
        <p:nvSpPr>
          <p:cNvPr id="5" name="Rounded Rectangle 4">
            <a:extLst>
              <a:ext uri="{FF2B5EF4-FFF2-40B4-BE49-F238E27FC236}">
                <a16:creationId xmlns="" xmlns:a16="http://schemas.microsoft.com/office/drawing/2014/main" id="{3FF68B7E-2A3C-7445-840D-E03AC743B2BC}"/>
              </a:ext>
            </a:extLst>
          </p:cNvPr>
          <p:cNvSpPr/>
          <p:nvPr/>
        </p:nvSpPr>
        <p:spPr>
          <a:xfrm>
            <a:off x="718225" y="748722"/>
            <a:ext cx="11326629" cy="339099"/>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7" name="Straight Connector 6">
            <a:extLst>
              <a:ext uri="{FF2B5EF4-FFF2-40B4-BE49-F238E27FC236}">
                <a16:creationId xmlns="" xmlns:a16="http://schemas.microsoft.com/office/drawing/2014/main" id="{D4D9F918-F730-4449-AB3E-2E8143B1A414}"/>
              </a:ext>
            </a:extLst>
          </p:cNvPr>
          <p:cNvCxnSpPr>
            <a:cxnSpLocks/>
          </p:cNvCxnSpPr>
          <p:nvPr/>
        </p:nvCxnSpPr>
        <p:spPr>
          <a:xfrm>
            <a:off x="7840050" y="918271"/>
            <a:ext cx="3914641" cy="14649"/>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32108761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 xmlns:a16="http://schemas.microsoft.com/office/drawing/2014/main"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 xmlns:a16="http://schemas.microsoft.com/office/drawing/2014/main"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 xmlns:a16="http://schemas.microsoft.com/office/drawing/2014/main"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 xmlns:a16="http://schemas.microsoft.com/office/drawing/2014/main"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 xmlns:a16="http://schemas.microsoft.com/office/drawing/2014/main"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 xmlns:a16="http://schemas.microsoft.com/office/drawing/2014/main"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 xmlns:a16="http://schemas.microsoft.com/office/drawing/2014/main"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 xmlns:a16="http://schemas.microsoft.com/office/drawing/2014/main"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 xmlns:a16="http://schemas.microsoft.com/office/drawing/2014/main"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 xmlns:a16="http://schemas.microsoft.com/office/drawing/2014/main"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70894"/>
            <a:ext cx="6202543"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smtClean="0">
                <a:solidFill>
                  <a:srgbClr val="FFFFFF"/>
                </a:solidFill>
                <a:latin typeface="Segoe UI Light"/>
                <a:cs typeface="Segoe UI" panose="020B0502040204020203" pitchFamily="34" charset="0"/>
              </a:rPr>
              <a:t>organisation</a:t>
            </a:r>
            <a:r>
              <a:rPr lang="en-US" sz="1400" b="1" dirty="0" smtClean="0">
                <a:solidFill>
                  <a:srgbClr val="FFFFFF"/>
                </a:solidFill>
                <a:latin typeface="Segoe UI Light"/>
                <a:cs typeface="Segoe UI" panose="020B0502040204020203" pitchFamily="34" charset="0"/>
              </a:rPr>
              <a:t> </a:t>
            </a:r>
            <a:endParaRPr lang="en-US"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726112" y="904126"/>
            <a:ext cx="6932488" cy="6597"/>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8" name="Straight Connector 27">
            <a:extLst>
              <a:ext uri="{FF2B5EF4-FFF2-40B4-BE49-F238E27FC236}">
                <a16:creationId xmlns="" xmlns:a16="http://schemas.microsoft.com/office/drawing/2014/main" id="{D4D9F918-F730-4449-AB3E-2E8143B1A414}"/>
              </a:ext>
            </a:extLst>
          </p:cNvPr>
          <p:cNvCxnSpPr>
            <a:cxnSpLocks/>
          </p:cNvCxnSpPr>
          <p:nvPr/>
        </p:nvCxnSpPr>
        <p:spPr>
          <a:xfrm flipV="1">
            <a:off x="4820461" y="873343"/>
            <a:ext cx="7022965" cy="20509"/>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a16="http://schemas.microsoft.com/office/drawing/2014/main" xmlns=""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a16="http://schemas.microsoft.com/office/drawing/2014/main" xmlns=""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a16="http://schemas.microsoft.com/office/drawing/2014/main" xmlns="" id="{DC47793E-94A1-452E-94E3-B4DA4F325110}"/>
              </a:ext>
            </a:extLst>
          </p:cNvPr>
          <p:cNvSpPr txBox="1"/>
          <p:nvPr/>
        </p:nvSpPr>
        <p:spPr>
          <a:xfrm>
            <a:off x="6407728" y="1812697"/>
            <a:ext cx="2743200" cy="215444"/>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A country free of crime</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a16="http://schemas.microsoft.com/office/drawing/2014/main" xmlns=""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a16="http://schemas.microsoft.com/office/drawing/2014/main" xmlns=""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a16="http://schemas.microsoft.com/office/drawing/2014/main" xmlns=""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a16="http://schemas.microsoft.com/office/drawing/2014/main" xmlns=""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a16="http://schemas.microsoft.com/office/drawing/2014/main" xmlns=""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a16="http://schemas.microsoft.com/office/drawing/2014/main" xmlns=""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a16="http://schemas.microsoft.com/office/drawing/2014/main" xmlns=""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a16="http://schemas.microsoft.com/office/drawing/2014/main" xmlns=""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a16="http://schemas.microsoft.com/office/drawing/2014/main" xmlns=""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a16="http://schemas.microsoft.com/office/drawing/2014/main" xmlns=""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a16="http://schemas.microsoft.com/office/drawing/2014/main" xmlns=""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a16="http://schemas.microsoft.com/office/drawing/2014/main" xmlns=""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a16="http://schemas.microsoft.com/office/drawing/2014/main" xmlns=""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a16="http://schemas.microsoft.com/office/drawing/2014/main" xmlns=""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a16="http://schemas.microsoft.com/office/drawing/2014/main" xmlns=""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a16="http://schemas.microsoft.com/office/drawing/2014/main" xmlns=""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a16="http://schemas.microsoft.com/office/drawing/2014/main" xmlns=""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a16="http://schemas.microsoft.com/office/drawing/2014/main" xmlns=""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a16="http://schemas.microsoft.com/office/drawing/2014/main" xmlns=""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a16="http://schemas.microsoft.com/office/drawing/2014/main" xmlns=""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a16="http://schemas.microsoft.com/office/drawing/2014/main" xmlns=""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4422" y="5104321"/>
              <a:ext cx="1199409" cy="677559"/>
            </a:xfrm>
            <a:prstGeom prst="rect">
              <a:avLst/>
            </a:prstGeom>
            <a:noFill/>
          </p:spPr>
          <p:txBody>
            <a:bodyPr wrap="square" rtlCol="0">
              <a:spAutoFit/>
            </a:bodyPr>
            <a:lstStyle/>
            <a:p>
              <a:pPr algn="ctr"/>
              <a:r>
                <a:rPr lang="en-ZA" sz="1400" dirty="0"/>
                <a:t>4. </a:t>
              </a:r>
            </a:p>
            <a:p>
              <a:pPr algn="ctr"/>
              <a:r>
                <a:rPr lang="en-ZA" sz="1400" dirty="0"/>
                <a:t>Successful reintegration</a:t>
              </a:r>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a:t>5. </a:t>
              </a:r>
            </a:p>
            <a:p>
              <a:pPr algn="ctr"/>
              <a:r>
                <a:rPr lang="en-ZA" sz="1400" dirty="0"/>
                <a:t>Healthy</a:t>
              </a:r>
            </a:p>
            <a:p>
              <a:pPr algn="ctr"/>
              <a:r>
                <a:rPr lang="en-ZA" sz="1400" dirty="0"/>
                <a:t>incarcerated population</a:t>
              </a:r>
            </a:p>
          </p:txBody>
        </p:sp>
        <p:sp>
          <p:nvSpPr>
            <p:cNvPr id="58" name="TextBox 57"/>
            <p:cNvSpPr txBox="1"/>
            <p:nvPr/>
          </p:nvSpPr>
          <p:spPr>
            <a:xfrm>
              <a:off x="6514259" y="3142977"/>
              <a:ext cx="1083103" cy="1072801"/>
            </a:xfrm>
            <a:prstGeom prst="rect">
              <a:avLst/>
            </a:prstGeom>
            <a:noFill/>
          </p:spPr>
          <p:txBody>
            <a:bodyPr wrap="square" rtlCol="0">
              <a:spAutoFit/>
            </a:bodyPr>
            <a:lstStyle/>
            <a:p>
              <a:pPr algn="ctr"/>
              <a:r>
                <a:rPr lang="en-ZA" sz="1400" b="1" dirty="0">
                  <a:solidFill>
                    <a:srgbClr val="548235"/>
                  </a:solidFill>
                </a:rPr>
                <a:t>6. </a:t>
              </a:r>
            </a:p>
            <a:p>
              <a:pPr algn="ctr"/>
              <a:r>
                <a:rPr lang="en-ZA" sz="1400" b="1" dirty="0">
                  <a:solidFill>
                    <a:srgbClr val="548235"/>
                  </a:solidFill>
                </a:rPr>
                <a:t>High performing ethical  organisation</a:t>
              </a:r>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
        <p:nvSpPr>
          <p:cNvPr id="7" name="Rounded Rectangle 6">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5" name="Straight Connector 14">
            <a:extLst>
              <a:ext uri="{FF2B5EF4-FFF2-40B4-BE49-F238E27FC236}">
                <a16:creationId xmlns="" xmlns:a16="http://schemas.microsoft.com/office/drawing/2014/main" id="{D4D9F918-F730-4449-AB3E-2E8143B1A414}"/>
              </a:ext>
            </a:extLst>
          </p:cNvPr>
          <p:cNvCxnSpPr>
            <a:cxnSpLocks/>
          </p:cNvCxnSpPr>
          <p:nvPr/>
        </p:nvCxnSpPr>
        <p:spPr>
          <a:xfrm>
            <a:off x="4820461" y="922564"/>
            <a:ext cx="7022965" cy="5346"/>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859676" y="904126"/>
            <a:ext cx="6983750" cy="6598"/>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3499" y="1191574"/>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37189" y="4436069"/>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6656" y="3851294"/>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human resource management)</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9" name="Round Single Corner Rectangle 28"/>
          <p:cNvSpPr/>
          <p:nvPr/>
        </p:nvSpPr>
        <p:spPr>
          <a:xfrm>
            <a:off x="7897452" y="1164583"/>
            <a:ext cx="3746805"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Rectangle 29"/>
          <p:cNvSpPr/>
          <p:nvPr/>
        </p:nvSpPr>
        <p:spPr>
          <a:xfrm>
            <a:off x="4136297" y="1181702"/>
            <a:ext cx="3723812"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a16="http://schemas.microsoft.com/office/drawing/2014/main" xmlns=""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a16="http://schemas.microsoft.com/office/drawing/2014/main" xmlns=""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b="1" dirty="0">
                <a:latin typeface="+mj-lt"/>
              </a:rPr>
              <a:t>PRIORITY 1: </a:t>
            </a:r>
            <a:endParaRPr lang="en-US" sz="1600" b="1" dirty="0" smtClean="0">
              <a:latin typeface="+mj-lt"/>
            </a:endParaRPr>
          </a:p>
          <a:p>
            <a:r>
              <a:rPr lang="en-US" sz="1600" b="1" dirty="0" smtClean="0">
                <a:latin typeface="+mj-lt"/>
              </a:rPr>
              <a:t>Building </a:t>
            </a:r>
            <a:r>
              <a:rPr lang="en-US" sz="1600" b="1" dirty="0">
                <a:latin typeface="+mj-lt"/>
              </a:rPr>
              <a:t>a capable, ethical and developmental state</a:t>
            </a:r>
            <a:endParaRPr lang="en-US" sz="1600" b="1" dirty="0">
              <a:latin typeface="+mj-lt"/>
              <a:cs typeface="Arial" panose="020B0604020202020204" pitchFamily="34" charset="0"/>
            </a:endParaRPr>
          </a:p>
        </p:txBody>
      </p:sp>
      <p:sp>
        <p:nvSpPr>
          <p:cNvPr id="10" name="Oval 9">
            <a:extLst>
              <a:ext uri="{FF2B5EF4-FFF2-40B4-BE49-F238E27FC236}">
                <a16:creationId xmlns:a16="http://schemas.microsoft.com/office/drawing/2014/main" xmlns=""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a16="http://schemas.microsoft.com/office/drawing/2014/main" xmlns=""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a16="http://schemas.microsoft.com/office/drawing/2014/main" xmlns=""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a16="http://schemas.microsoft.com/office/drawing/2014/main" xmlns=""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a16="http://schemas.microsoft.com/office/drawing/2014/main" xmlns=""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a16="http://schemas.microsoft.com/office/drawing/2014/main" xmlns=""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a16="http://schemas.microsoft.com/office/drawing/2014/main" xmlns=""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a16="http://schemas.microsoft.com/office/drawing/2014/main" xmlns=""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a16="http://schemas.microsoft.com/office/drawing/2014/main" xmlns=""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a16="http://schemas.microsoft.com/office/drawing/2014/main" xmlns="" id="{8EEB3693-848E-488B-AABF-EBC1DE1C5DC1}"/>
              </a:ext>
            </a:extLst>
          </p:cNvPr>
          <p:cNvGraphicFramePr/>
          <p:nvPr>
            <p:extLst>
              <p:ext uri="{D42A27DB-BD31-4B8C-83A1-F6EECF244321}">
                <p14:modId xmlns:p14="http://schemas.microsoft.com/office/powerpoint/2010/main" val="280855510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xmlns="" xmlns:lc="http://schemas.openxmlformats.org/drawingml/2006/lockedCanvas"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a16="http://schemas.microsoft.com/office/drawing/2014/main" xmlns=""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897633" y="776378"/>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lvl="0">
              <a:defRPr/>
            </a:pPr>
            <a:r>
              <a:rPr kumimoji="0" lang="en-US" sz="4000" b="1" i="0" u="none" strike="noStrike" kern="1200" cap="none" spc="0" normalizeH="0" baseline="0" noProof="0" dirty="0" smtClean="0">
                <a:ln>
                  <a:noFill/>
                </a:ln>
                <a:solidFill>
                  <a:srgbClr val="000000"/>
                </a:solidFill>
                <a:effectLst/>
                <a:uLnTx/>
                <a:uFillTx/>
                <a:latin typeface="Georgia"/>
              </a:rPr>
              <a:t>2019 MTSF </a:t>
            </a:r>
            <a:r>
              <a:rPr lang="en-US" sz="4000" dirty="0">
                <a:solidFill>
                  <a:srgbClr val="000000"/>
                </a:solidFill>
                <a:latin typeface="Georgia"/>
              </a:rPr>
              <a:t>contribution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21" name="TextBox 20">
            <a:extLst>
              <a:ext uri="{FF2B5EF4-FFF2-40B4-BE49-F238E27FC236}">
                <a16:creationId xmlns="" xmlns:a16="http://schemas.microsoft.com/office/drawing/2014/main" id="{3D1D2E24-36FA-6149-B377-163EFDF93ABC}"/>
              </a:ext>
            </a:extLst>
          </p:cNvPr>
          <p:cNvSpPr txBox="1"/>
          <p:nvPr/>
        </p:nvSpPr>
        <p:spPr>
          <a:xfrm>
            <a:off x="989159" y="2271555"/>
            <a:ext cx="6365424"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814498" y="787069"/>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graphicFrame>
        <p:nvGraphicFramePr>
          <p:cNvPr id="22" name="Table 21"/>
          <p:cNvGraphicFramePr>
            <a:graphicFrameLocks noGrp="1"/>
          </p:cNvGraphicFramePr>
          <p:nvPr>
            <p:extLst>
              <p:ext uri="{D42A27DB-BD31-4B8C-83A1-F6EECF244321}">
                <p14:modId xmlns:p14="http://schemas.microsoft.com/office/powerpoint/2010/main" val="2043483531"/>
              </p:ext>
            </p:extLst>
          </p:nvPr>
        </p:nvGraphicFramePr>
        <p:xfrm>
          <a:off x="647700" y="1265766"/>
          <a:ext cx="11010902" cy="423888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tx1"/>
                          </a:solidFill>
                          <a:latin typeface="+mj-lt"/>
                        </a:rPr>
                        <a:t>Priority 2: Economic transformation and job creation</a:t>
                      </a: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accent6">
                        <a:lumMod val="40000"/>
                        <a:lumOff val="60000"/>
                      </a:schemeClr>
                    </a:solid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tx1"/>
                          </a:solidFill>
                          <a:latin typeface="+mj-lt"/>
                        </a:rPr>
                        <a:t>Percentage of youths employed within the Department</a:t>
                      </a:r>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tx1"/>
                          </a:solidFill>
                          <a:latin typeface="+mj-lt"/>
                        </a:rPr>
                        <a:t>Percentage compliance with the EE plan in the filling of positions</a:t>
                      </a:r>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759934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4430A9AA-BB5E-FF43-8C3E-F42948508E5B}"/>
              </a:ext>
            </a:extLst>
          </p:cNvPr>
          <p:cNvSpPr txBox="1">
            <a:spLocks/>
          </p:cNvSpPr>
          <p:nvPr/>
        </p:nvSpPr>
        <p:spPr>
          <a:xfrm>
            <a:off x="718226" y="18106"/>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3600" dirty="0" smtClean="0">
                <a:solidFill>
                  <a:srgbClr val="000000"/>
                </a:solidFill>
                <a:latin typeface="Georgia"/>
              </a:rPr>
              <a:t>Problem tree</a:t>
            </a:r>
            <a:endParaRPr lang="en-US" sz="3600" dirty="0">
              <a:solidFill>
                <a:srgbClr val="000000"/>
              </a:solidFill>
              <a:latin typeface="Georgia"/>
            </a:endParaRPr>
          </a:p>
        </p:txBody>
      </p:sp>
      <p:sp>
        <p:nvSpPr>
          <p:cNvPr id="14" name="TextBox 13">
            <a:extLst>
              <a:ext uri="{FF2B5EF4-FFF2-40B4-BE49-F238E27FC236}">
                <a16:creationId xmlns:a16="http://schemas.microsoft.com/office/drawing/2014/main" xmlns="" id="{3D1D2E24-36FA-6149-B377-163EFDF93ABC}"/>
              </a:ext>
            </a:extLst>
          </p:cNvPr>
          <p:cNvSpPr txBox="1"/>
          <p:nvPr/>
        </p:nvSpPr>
        <p:spPr>
          <a:xfrm>
            <a:off x="989159" y="862900"/>
            <a:ext cx="6870950" cy="184666"/>
          </a:xfrm>
          <a:prstGeom prst="rect">
            <a:avLst/>
          </a:prstGeom>
          <a:noFill/>
        </p:spPr>
        <p:txBody>
          <a:bodyPr wrap="square" lIns="0" tIns="0" rIns="0" bIns="0" rtlCol="0" anchor="ctr">
            <a:spAutoFit/>
          </a:bodyPr>
          <a:lstStyle/>
          <a:p>
            <a:pPr>
              <a:spcAft>
                <a:spcPts val="300"/>
              </a:spcAft>
            </a:pPr>
            <a:r>
              <a:rPr lang="en-US" sz="1200" b="1" dirty="0">
                <a:solidFill>
                  <a:srgbClr val="FFFFFF"/>
                </a:solidFill>
                <a:latin typeface="Segoe UI Light"/>
                <a:cs typeface="Segoe UI" panose="020B0502040204020203" pitchFamily="34" charset="0"/>
              </a:rPr>
              <a:t>Outcome 6: High performing ethical </a:t>
            </a:r>
            <a:r>
              <a:rPr lang="en-US" sz="1200" b="1" dirty="0" err="1">
                <a:solidFill>
                  <a:srgbClr val="FFFFFF"/>
                </a:solidFill>
                <a:latin typeface="Segoe UI Light"/>
                <a:cs typeface="Segoe UI" panose="020B0502040204020203" pitchFamily="34" charset="0"/>
              </a:rPr>
              <a:t>organisation</a:t>
            </a:r>
            <a:r>
              <a:rPr lang="en-US" sz="1200" b="1" dirty="0">
                <a:solidFill>
                  <a:srgbClr val="FFFFFF"/>
                </a:solidFill>
                <a:latin typeface="Segoe UI Light"/>
                <a:cs typeface="Segoe UI" panose="020B0502040204020203" pitchFamily="34" charset="0"/>
              </a:rPr>
              <a:t> </a:t>
            </a:r>
          </a:p>
        </p:txBody>
      </p:sp>
      <p:graphicFrame>
        <p:nvGraphicFramePr>
          <p:cNvPr id="16" name="Diagram 15"/>
          <p:cNvGraphicFramePr/>
          <p:nvPr>
            <p:extLst/>
          </p:nvPr>
        </p:nvGraphicFramePr>
        <p:xfrm>
          <a:off x="135074" y="1648538"/>
          <a:ext cx="12105728" cy="6133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p:cNvSpPr/>
          <p:nvPr/>
        </p:nvSpPr>
        <p:spPr>
          <a:xfrm>
            <a:off x="3140587" y="1106657"/>
            <a:ext cx="1944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lIns="91432" tIns="45716" rIns="91432" bIns="45716" rtlCol="0" anchor="ctr"/>
          <a:lstStyle/>
          <a:p>
            <a:pPr algn="ctr" defTabSz="1179597">
              <a:defRPr/>
            </a:pPr>
            <a:r>
              <a:rPr lang="en-ZA" b="1" kern="0" dirty="0" smtClean="0">
                <a:solidFill>
                  <a:prstClr val="black"/>
                </a:solidFill>
                <a:latin typeface="Lato"/>
              </a:rPr>
              <a:t>Demotivated workforce</a:t>
            </a:r>
          </a:p>
        </p:txBody>
      </p:sp>
      <p:sp>
        <p:nvSpPr>
          <p:cNvPr id="18" name="Rectangle 17"/>
          <p:cNvSpPr/>
          <p:nvPr/>
        </p:nvSpPr>
        <p:spPr>
          <a:xfrm>
            <a:off x="5181547" y="1106631"/>
            <a:ext cx="1800000" cy="517982"/>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Poor service delivery</a:t>
            </a:r>
          </a:p>
        </p:txBody>
      </p:sp>
      <p:sp>
        <p:nvSpPr>
          <p:cNvPr id="19" name="Rectangle 18"/>
          <p:cNvSpPr/>
          <p:nvPr/>
        </p:nvSpPr>
        <p:spPr>
          <a:xfrm>
            <a:off x="7090628" y="1116795"/>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Negative audit outcomes</a:t>
            </a:r>
          </a:p>
        </p:txBody>
      </p:sp>
      <p:sp>
        <p:nvSpPr>
          <p:cNvPr id="21" name="Rectangle 20"/>
          <p:cNvSpPr/>
          <p:nvPr/>
        </p:nvSpPr>
        <p:spPr>
          <a:xfrm>
            <a:off x="8980629" y="1106657"/>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Fraud and corruption</a:t>
            </a:r>
          </a:p>
        </p:txBody>
      </p:sp>
      <p:sp>
        <p:nvSpPr>
          <p:cNvPr id="22" name="TextBox 21"/>
          <p:cNvSpPr txBox="1"/>
          <p:nvPr/>
        </p:nvSpPr>
        <p:spPr>
          <a:xfrm>
            <a:off x="1664064" y="1186329"/>
            <a:ext cx="1296144" cy="462223"/>
          </a:xfrm>
          <a:prstGeom prst="rect">
            <a:avLst/>
          </a:prstGeom>
          <a:noFill/>
        </p:spPr>
        <p:txBody>
          <a:bodyPr wrap="square" lIns="91358" tIns="45679" rIns="91358" bIns="45679" rtlCol="0">
            <a:spAutoFit/>
          </a:bodyPr>
          <a:lstStyle/>
          <a:p>
            <a:pPr defTabSz="913576">
              <a:defRPr/>
            </a:pPr>
            <a:r>
              <a:rPr lang="en-US" sz="2400" b="1" kern="0" dirty="0" smtClean="0">
                <a:solidFill>
                  <a:srgbClr val="FF9900"/>
                </a:solidFill>
              </a:rPr>
              <a:t>Effects</a:t>
            </a:r>
          </a:p>
        </p:txBody>
      </p:sp>
      <p:sp>
        <p:nvSpPr>
          <p:cNvPr id="23" name="TextBox 22"/>
          <p:cNvSpPr txBox="1"/>
          <p:nvPr/>
        </p:nvSpPr>
        <p:spPr>
          <a:xfrm>
            <a:off x="10780629" y="1648552"/>
            <a:ext cx="1306002" cy="832068"/>
          </a:xfrm>
          <a:prstGeom prst="rect">
            <a:avLst/>
          </a:prstGeom>
          <a:noFill/>
        </p:spPr>
        <p:txBody>
          <a:bodyPr wrap="square" lIns="91358" tIns="45679" rIns="91358" bIns="45679" rtlCol="0">
            <a:spAutoFit/>
          </a:bodyPr>
          <a:lstStyle/>
          <a:p>
            <a:pPr defTabSz="913576">
              <a:defRPr/>
            </a:pPr>
            <a:r>
              <a:rPr lang="en-US" sz="2400" b="1" kern="0" dirty="0" smtClean="0">
                <a:solidFill>
                  <a:srgbClr val="679F81"/>
                </a:solidFill>
              </a:rPr>
              <a:t>Core problem</a:t>
            </a:r>
          </a:p>
        </p:txBody>
      </p:sp>
    </p:spTree>
    <p:extLst>
      <p:ext uri="{BB962C8B-B14F-4D97-AF65-F5344CB8AC3E}">
        <p14:creationId xmlns:p14="http://schemas.microsoft.com/office/powerpoint/2010/main" val="17060656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661</TotalTime>
  <Words>2051</Words>
  <Application>Microsoft Office PowerPoint</Application>
  <PresentationFormat>Widescreen</PresentationFormat>
  <Paragraphs>375</Paragraphs>
  <Slides>19</Slides>
  <Notes>1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PowerPoint Presentation</vt:lpstr>
      <vt:lpstr>Modes of service delivery for HR</vt:lpstr>
      <vt:lpstr>Strategic Risks</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27</cp:revision>
  <dcterms:created xsi:type="dcterms:W3CDTF">2020-09-14T09:49:54Z</dcterms:created>
  <dcterms:modified xsi:type="dcterms:W3CDTF">2020-10-07T18:59:45Z</dcterms:modified>
</cp:coreProperties>
</file>